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355" r:id="rId5"/>
    <p:sldId id="405" r:id="rId6"/>
    <p:sldId id="385" r:id="rId7"/>
    <p:sldId id="395" r:id="rId8"/>
    <p:sldId id="396" r:id="rId9"/>
    <p:sldId id="397" r:id="rId10"/>
    <p:sldId id="401" r:id="rId11"/>
    <p:sldId id="398" r:id="rId12"/>
    <p:sldId id="399" r:id="rId13"/>
    <p:sldId id="406" r:id="rId14"/>
    <p:sldId id="400" r:id="rId15"/>
    <p:sldId id="402" r:id="rId16"/>
    <p:sldId id="407" r:id="rId17"/>
    <p:sldId id="403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yleguide" id="{B876642A-CAE4-49D5-8EEE-113F5705A5F2}">
          <p14:sldIdLst/>
        </p14:section>
        <p14:section name="Titelfolien" id="{6C2A3F40-4CCA-42CD-9777-E7916E8AD7FE}">
          <p14:sldIdLst>
            <p14:sldId id="355"/>
          </p14:sldIdLst>
        </p14:section>
        <p14:section name="Kapiteltrenner" id="{B0AA0E57-9637-4AB9-972E-25DE4DA52A3A}">
          <p14:sldIdLst/>
        </p14:section>
        <p14:section name="Inaltsfolien" id="{D483DE31-6AEE-40E2-83A0-EA6250270A6E}">
          <p14:sldIdLst>
            <p14:sldId id="405"/>
            <p14:sldId id="385"/>
            <p14:sldId id="395"/>
            <p14:sldId id="396"/>
            <p14:sldId id="397"/>
            <p14:sldId id="401"/>
            <p14:sldId id="398"/>
            <p14:sldId id="399"/>
            <p14:sldId id="406"/>
            <p14:sldId id="400"/>
            <p14:sldId id="402"/>
            <p14:sldId id="407"/>
            <p14:sldId id="403"/>
          </p14:sldIdLst>
        </p14:section>
        <p14:section name="Schlussfolien" id="{A19DB14B-D472-45E0-B4D8-796A1ED47499}">
          <p14:sldIdLst/>
        </p14:section>
        <p14:section name="Tabellen | Icons" id="{9676E89B-8770-4417-A5A4-9F2EBACB1271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DCED53-C84F-4427-895D-0C9DFBD0DF2C}" v="119" dt="2024-09-17T15:18:19.119"/>
  </p1510:revLst>
</p1510:revInfo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30" autoAdjust="0"/>
    <p:restoredTop sz="95970" autoAdjust="0"/>
  </p:normalViewPr>
  <p:slideViewPr>
    <p:cSldViewPr snapToGrid="0">
      <p:cViewPr>
        <p:scale>
          <a:sx n="75" d="100"/>
          <a:sy n="75" d="100"/>
        </p:scale>
        <p:origin x="1524" y="6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äfermeier, Bastian" userId="222eb8a9-5069-4046-88bd-a10549caffd0" providerId="ADAL" clId="{B697347A-15D2-4582-B8D9-83DC42EC9991}"/>
    <pc:docChg chg="undo custSel addSld delSld modSld sldOrd modSection">
      <pc:chgData name="Schäfermeier, Bastian" userId="222eb8a9-5069-4046-88bd-a10549caffd0" providerId="ADAL" clId="{B697347A-15D2-4582-B8D9-83DC42EC9991}" dt="2023-08-15T14:11:30.733" v="3394" actId="47"/>
      <pc:docMkLst>
        <pc:docMk/>
      </pc:docMkLst>
      <pc:sldChg chg="modSp add mod ord">
        <pc:chgData name="Schäfermeier, Bastian" userId="222eb8a9-5069-4046-88bd-a10549caffd0" providerId="ADAL" clId="{B697347A-15D2-4582-B8D9-83DC42EC9991}" dt="2023-08-15T11:40:20.683" v="2484"/>
        <pc:sldMkLst>
          <pc:docMk/>
          <pc:sldMk cId="1376898283" sldId="317"/>
        </pc:sldMkLst>
        <pc:spChg chg="mod">
          <ac:chgData name="Schäfermeier, Bastian" userId="222eb8a9-5069-4046-88bd-a10549caffd0" providerId="ADAL" clId="{B697347A-15D2-4582-B8D9-83DC42EC9991}" dt="2023-08-15T11:40:17.578" v="2482" actId="20577"/>
          <ac:spMkLst>
            <pc:docMk/>
            <pc:sldMk cId="1376898283" sldId="317"/>
            <ac:spMk id="3" creationId="{2969FAB3-F139-4D43-A7C4-4D804D9FD135}"/>
          </ac:spMkLst>
        </pc:spChg>
      </pc:sldChg>
      <pc:sldChg chg="addSp delSp modSp add del mod">
        <pc:chgData name="Schäfermeier, Bastian" userId="222eb8a9-5069-4046-88bd-a10549caffd0" providerId="ADAL" clId="{B697347A-15D2-4582-B8D9-83DC42EC9991}" dt="2023-08-15T12:11:31.686" v="3289" actId="47"/>
        <pc:sldMkLst>
          <pc:docMk/>
          <pc:sldMk cId="3005863" sldId="343"/>
        </pc:sldMkLst>
        <pc:spChg chg="mod">
          <ac:chgData name="Schäfermeier, Bastian" userId="222eb8a9-5069-4046-88bd-a10549caffd0" providerId="ADAL" clId="{B697347A-15D2-4582-B8D9-83DC42EC9991}" dt="2023-08-15T09:21:05.422" v="52" actId="20577"/>
          <ac:spMkLst>
            <pc:docMk/>
            <pc:sldMk cId="3005863" sldId="343"/>
            <ac:spMk id="2" creationId="{2532A74A-862F-43E8-8CCB-8B656C628020}"/>
          </ac:spMkLst>
        </pc:spChg>
        <pc:spChg chg="add del mod">
          <ac:chgData name="Schäfermeier, Bastian" userId="222eb8a9-5069-4046-88bd-a10549caffd0" providerId="ADAL" clId="{B697347A-15D2-4582-B8D9-83DC42EC9991}" dt="2023-08-15T09:22:44.642" v="85"/>
          <ac:spMkLst>
            <pc:docMk/>
            <pc:sldMk cId="3005863" sldId="343"/>
            <ac:spMk id="7" creationId="{9AB1824D-FCC0-AEED-35E3-25D08BF65BF6}"/>
          </ac:spMkLst>
        </pc:spChg>
        <pc:spChg chg="mod">
          <ac:chgData name="Schäfermeier, Bastian" userId="222eb8a9-5069-4046-88bd-a10549caffd0" providerId="ADAL" clId="{B697347A-15D2-4582-B8D9-83DC42EC9991}" dt="2023-08-15T09:21:09.040" v="61" actId="20577"/>
          <ac:spMkLst>
            <pc:docMk/>
            <pc:sldMk cId="3005863" sldId="343"/>
            <ac:spMk id="16" creationId="{2FFC3EC6-26F1-42B0-ABBD-A3A9A3695309}"/>
          </ac:spMkLst>
        </pc:spChg>
        <pc:picChg chg="del">
          <ac:chgData name="Schäfermeier, Bastian" userId="222eb8a9-5069-4046-88bd-a10549caffd0" providerId="ADAL" clId="{B697347A-15D2-4582-B8D9-83DC42EC9991}" dt="2023-08-15T09:21:28.122" v="62" actId="478"/>
          <ac:picMkLst>
            <pc:docMk/>
            <pc:sldMk cId="3005863" sldId="343"/>
            <ac:picMk id="9" creationId="{3F3966CE-E87B-CD15-C4D4-D8912883D47E}"/>
          </ac:picMkLst>
        </pc:picChg>
      </pc:sldChg>
      <pc:sldChg chg="modSp mod">
        <pc:chgData name="Schäfermeier, Bastian" userId="222eb8a9-5069-4046-88bd-a10549caffd0" providerId="ADAL" clId="{B697347A-15D2-4582-B8D9-83DC42EC9991}" dt="2023-08-15T09:26:00.850" v="382" actId="121"/>
        <pc:sldMkLst>
          <pc:docMk/>
          <pc:sldMk cId="3162220561" sldId="355"/>
        </pc:sldMkLst>
        <pc:spChg chg="mod">
          <ac:chgData name="Schäfermeier, Bastian" userId="222eb8a9-5069-4046-88bd-a10549caffd0" providerId="ADAL" clId="{B697347A-15D2-4582-B8D9-83DC42EC9991}" dt="2023-08-15T09:26:00.850" v="382" actId="121"/>
          <ac:spMkLst>
            <pc:docMk/>
            <pc:sldMk cId="3162220561" sldId="355"/>
            <ac:spMk id="5" creationId="{74E97DF8-C1D4-4738-8989-E78F9E0E9897}"/>
          </ac:spMkLst>
        </pc:spChg>
      </pc:sldChg>
      <pc:sldChg chg="delSp modSp mod ord">
        <pc:chgData name="Schäfermeier, Bastian" userId="222eb8a9-5069-4046-88bd-a10549caffd0" providerId="ADAL" clId="{B697347A-15D2-4582-B8D9-83DC42EC9991}" dt="2023-08-15T10:00:17.769" v="1809" actId="20577"/>
        <pc:sldMkLst>
          <pc:docMk/>
          <pc:sldMk cId="2617137735" sldId="363"/>
        </pc:sldMkLst>
        <pc:spChg chg="mod">
          <ac:chgData name="Schäfermeier, Bastian" userId="222eb8a9-5069-4046-88bd-a10549caffd0" providerId="ADAL" clId="{B697347A-15D2-4582-B8D9-83DC42EC9991}" dt="2023-08-15T10:00:17.769" v="1809" actId="20577"/>
          <ac:spMkLst>
            <pc:docMk/>
            <pc:sldMk cId="2617137735" sldId="363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B697347A-15D2-4582-B8D9-83DC42EC9991}" dt="2023-08-15T09:23:12.203" v="130" actId="20577"/>
          <ac:spMkLst>
            <pc:docMk/>
            <pc:sldMk cId="2617137735" sldId="363"/>
            <ac:spMk id="7" creationId="{22464388-2ECA-4EEA-8E18-9F2C9F7BAE36}"/>
          </ac:spMkLst>
        </pc:spChg>
        <pc:spChg chg="del mod">
          <ac:chgData name="Schäfermeier, Bastian" userId="222eb8a9-5069-4046-88bd-a10549caffd0" providerId="ADAL" clId="{B697347A-15D2-4582-B8D9-83DC42EC9991}" dt="2023-08-15T09:23:43.542" v="185" actId="478"/>
          <ac:spMkLst>
            <pc:docMk/>
            <pc:sldMk cId="2617137735" sldId="363"/>
            <ac:spMk id="12" creationId="{1D2C5EAF-062B-0A90-F65C-9CED0F17A6EF}"/>
          </ac:spMkLst>
        </pc:spChg>
        <pc:spChg chg="mod">
          <ac:chgData name="Schäfermeier, Bastian" userId="222eb8a9-5069-4046-88bd-a10549caffd0" providerId="ADAL" clId="{B697347A-15D2-4582-B8D9-83DC42EC9991}" dt="2023-08-15T09:23:14.346" v="131" actId="20577"/>
          <ac:spMkLst>
            <pc:docMk/>
            <pc:sldMk cId="2617137735" sldId="363"/>
            <ac:spMk id="15" creationId="{9175E41B-8D90-4B9C-AA0C-02FF09B533AA}"/>
          </ac:spMkLst>
        </pc:spChg>
      </pc:sldChg>
      <pc:sldChg chg="del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2493193062" sldId="369"/>
        </pc:sldMkLst>
      </pc:sldChg>
      <pc:sldChg chg="del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2934519501" sldId="370"/>
        </pc:sldMkLst>
      </pc:sldChg>
      <pc:sldChg chg="add del">
        <pc:chgData name="Schäfermeier, Bastian" userId="222eb8a9-5069-4046-88bd-a10549caffd0" providerId="ADAL" clId="{B697347A-15D2-4582-B8D9-83DC42EC9991}" dt="2023-08-15T09:20:51.891" v="43" actId="47"/>
        <pc:sldMkLst>
          <pc:docMk/>
          <pc:sldMk cId="2621159179" sldId="371"/>
        </pc:sldMkLst>
      </pc:sldChg>
      <pc:sldChg chg="del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1230199307" sldId="372"/>
        </pc:sldMkLst>
      </pc:sldChg>
      <pc:sldChg chg="del">
        <pc:chgData name="Schäfermeier, Bastian" userId="222eb8a9-5069-4046-88bd-a10549caffd0" providerId="ADAL" clId="{B697347A-15D2-4582-B8D9-83DC42EC9991}" dt="2023-08-15T09:20:30.959" v="38" actId="47"/>
        <pc:sldMkLst>
          <pc:docMk/>
          <pc:sldMk cId="2230245228" sldId="374"/>
        </pc:sldMkLst>
      </pc:sldChg>
      <pc:sldChg chg="modSp del mod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691796367" sldId="377"/>
        </pc:sldMkLst>
        <pc:spChg chg="mod">
          <ac:chgData name="Schäfermeier, Bastian" userId="222eb8a9-5069-4046-88bd-a10549caffd0" providerId="ADAL" clId="{B697347A-15D2-4582-B8D9-83DC42EC9991}" dt="2023-08-15T09:22:23.352" v="83" actId="20577"/>
          <ac:spMkLst>
            <pc:docMk/>
            <pc:sldMk cId="691796367" sldId="377"/>
            <ac:spMk id="3" creationId="{A34EAE6D-EACD-29E9-7A6D-53F52F989FC8}"/>
          </ac:spMkLst>
        </pc:spChg>
        <pc:spChg chg="mod">
          <ac:chgData name="Schäfermeier, Bastian" userId="222eb8a9-5069-4046-88bd-a10549caffd0" providerId="ADAL" clId="{B697347A-15D2-4582-B8D9-83DC42EC9991}" dt="2023-08-15T09:22:08.912" v="67" actId="20577"/>
          <ac:spMkLst>
            <pc:docMk/>
            <pc:sldMk cId="691796367" sldId="377"/>
            <ac:spMk id="165" creationId="{EF0832C3-3B1A-6B30-DDE1-E8F527938916}"/>
          </ac:spMkLst>
        </pc:spChg>
        <pc:spChg chg="mod">
          <ac:chgData name="Schäfermeier, Bastian" userId="222eb8a9-5069-4046-88bd-a10549caffd0" providerId="ADAL" clId="{B697347A-15D2-4582-B8D9-83DC42EC9991}" dt="2023-08-15T12:15:07.523" v="3294" actId="1076"/>
          <ac:spMkLst>
            <pc:docMk/>
            <pc:sldMk cId="691796367" sldId="377"/>
            <ac:spMk id="239" creationId="{6CED81D3-AC26-6CA5-765D-158A6C338783}"/>
          </ac:spMkLst>
        </pc:spChg>
      </pc:sldChg>
      <pc:sldChg chg="del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72472941" sldId="378"/>
        </pc:sldMkLst>
      </pc:sldChg>
      <pc:sldChg chg="modSp mod ord">
        <pc:chgData name="Schäfermeier, Bastian" userId="222eb8a9-5069-4046-88bd-a10549caffd0" providerId="ADAL" clId="{B697347A-15D2-4582-B8D9-83DC42EC9991}" dt="2023-08-15T13:56:11.559" v="3393" actId="20577"/>
        <pc:sldMkLst>
          <pc:docMk/>
          <pc:sldMk cId="447657309" sldId="379"/>
        </pc:sldMkLst>
        <pc:graphicFrameChg chg="mod modGraphic">
          <ac:chgData name="Schäfermeier, Bastian" userId="222eb8a9-5069-4046-88bd-a10549caffd0" providerId="ADAL" clId="{B697347A-15D2-4582-B8D9-83DC42EC9991}" dt="2023-08-15T13:56:11.559" v="3393" actId="20577"/>
          <ac:graphicFrameMkLst>
            <pc:docMk/>
            <pc:sldMk cId="447657309" sldId="379"/>
            <ac:graphicFrameMk id="4" creationId="{D52324BA-F527-09B6-BC45-E53AEF1FBFD5}"/>
          </ac:graphicFrameMkLst>
        </pc:graphicFrameChg>
      </pc:sldChg>
      <pc:sldChg chg="del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3702732689" sldId="380"/>
        </pc:sldMkLst>
      </pc:sldChg>
      <pc:sldChg chg="addSp delSp modSp add del mod">
        <pc:chgData name="Schäfermeier, Bastian" userId="222eb8a9-5069-4046-88bd-a10549caffd0" providerId="ADAL" clId="{B697347A-15D2-4582-B8D9-83DC42EC9991}" dt="2023-08-15T11:40:22.818" v="2485" actId="47"/>
        <pc:sldMkLst>
          <pc:docMk/>
          <pc:sldMk cId="3651915153" sldId="381"/>
        </pc:sldMkLst>
        <pc:spChg chg="mod">
          <ac:chgData name="Schäfermeier, Bastian" userId="222eb8a9-5069-4046-88bd-a10549caffd0" providerId="ADAL" clId="{B697347A-15D2-4582-B8D9-83DC42EC9991}" dt="2023-08-15T09:26:37.846" v="420" actId="20577"/>
          <ac:spMkLst>
            <pc:docMk/>
            <pc:sldMk cId="3651915153" sldId="381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B697347A-15D2-4582-B8D9-83DC42EC9991}" dt="2023-08-15T09:25:32.665" v="369" actId="20577"/>
          <ac:spMkLst>
            <pc:docMk/>
            <pc:sldMk cId="3651915153" sldId="381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B697347A-15D2-4582-B8D9-83DC42EC9991}" dt="2023-08-15T09:30:41.299" v="448" actId="478"/>
          <ac:spMkLst>
            <pc:docMk/>
            <pc:sldMk cId="3651915153" sldId="381"/>
            <ac:spMk id="10" creationId="{13FC192D-C2C6-2D93-B2CD-4B3C03E53688}"/>
          </ac:spMkLst>
        </pc:spChg>
        <pc:spChg chg="del mod">
          <ac:chgData name="Schäfermeier, Bastian" userId="222eb8a9-5069-4046-88bd-a10549caffd0" providerId="ADAL" clId="{B697347A-15D2-4582-B8D9-83DC42EC9991}" dt="2023-08-15T09:25:46.125" v="381" actId="478"/>
          <ac:spMkLst>
            <pc:docMk/>
            <pc:sldMk cId="3651915153" sldId="381"/>
            <ac:spMk id="12" creationId="{1D2C5EAF-062B-0A90-F65C-9CED0F17A6EF}"/>
          </ac:spMkLst>
        </pc:spChg>
        <pc:spChg chg="del">
          <ac:chgData name="Schäfermeier, Bastian" userId="222eb8a9-5069-4046-88bd-a10549caffd0" providerId="ADAL" clId="{B697347A-15D2-4582-B8D9-83DC42EC9991}" dt="2023-08-15T09:30:37.459" v="447" actId="478"/>
          <ac:spMkLst>
            <pc:docMk/>
            <pc:sldMk cId="3651915153" sldId="381"/>
            <ac:spMk id="15" creationId="{9175E41B-8D90-4B9C-AA0C-02FF09B533AA}"/>
          </ac:spMkLst>
        </pc:spChg>
        <pc:picChg chg="add del">
          <ac:chgData name="Schäfermeier, Bastian" userId="222eb8a9-5069-4046-88bd-a10549caffd0" providerId="ADAL" clId="{B697347A-15D2-4582-B8D9-83DC42EC9991}" dt="2023-08-15T09:30:16.463" v="428"/>
          <ac:picMkLst>
            <pc:docMk/>
            <pc:sldMk cId="3651915153" sldId="381"/>
            <ac:picMk id="5" creationId="{7010E23A-5A82-4058-8E0C-936CC74137EC}"/>
          </ac:picMkLst>
        </pc:picChg>
      </pc:sldChg>
      <pc:sldChg chg="addSp delSp modSp add mod">
        <pc:chgData name="Schäfermeier, Bastian" userId="222eb8a9-5069-4046-88bd-a10549caffd0" providerId="ADAL" clId="{B697347A-15D2-4582-B8D9-83DC42EC9991}" dt="2023-08-15T12:06:33.036" v="3242" actId="20577"/>
        <pc:sldMkLst>
          <pc:docMk/>
          <pc:sldMk cId="1407938641" sldId="382"/>
        </pc:sldMkLst>
        <pc:spChg chg="del mod">
          <ac:chgData name="Schäfermeier, Bastian" userId="222eb8a9-5069-4046-88bd-a10549caffd0" providerId="ADAL" clId="{B697347A-15D2-4582-B8D9-83DC42EC9991}" dt="2023-08-15T09:39:59.466" v="1175" actId="478"/>
          <ac:spMkLst>
            <pc:docMk/>
            <pc:sldMk cId="1407938641" sldId="382"/>
            <ac:spMk id="2" creationId="{3023E634-4318-419C-B03F-D5665391FB05}"/>
          </ac:spMkLst>
        </pc:spChg>
        <pc:spChg chg="add mod">
          <ac:chgData name="Schäfermeier, Bastian" userId="222eb8a9-5069-4046-88bd-a10549caffd0" providerId="ADAL" clId="{B697347A-15D2-4582-B8D9-83DC42EC9991}" dt="2023-08-15T12:06:33.036" v="3242" actId="20577"/>
          <ac:spMkLst>
            <pc:docMk/>
            <pc:sldMk cId="1407938641" sldId="382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697347A-15D2-4582-B8D9-83DC42EC9991}" dt="2023-08-15T09:30:24.850" v="444" actId="20577"/>
          <ac:spMkLst>
            <pc:docMk/>
            <pc:sldMk cId="1407938641" sldId="382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B697347A-15D2-4582-B8D9-83DC42EC9991}" dt="2023-08-15T09:40:45.177" v="1178" actId="478"/>
          <ac:spMkLst>
            <pc:docMk/>
            <pc:sldMk cId="1407938641" sldId="382"/>
            <ac:spMk id="10" creationId="{46E956E8-FD4A-477D-1202-6323901F1A9F}"/>
          </ac:spMkLst>
        </pc:spChg>
        <pc:spChg chg="del mod">
          <ac:chgData name="Schäfermeier, Bastian" userId="222eb8a9-5069-4046-88bd-a10549caffd0" providerId="ADAL" clId="{B697347A-15D2-4582-B8D9-83DC42EC9991}" dt="2023-08-15T09:30:30.829" v="446" actId="478"/>
          <ac:spMkLst>
            <pc:docMk/>
            <pc:sldMk cId="1407938641" sldId="382"/>
            <ac:spMk id="15" creationId="{9175E41B-8D90-4B9C-AA0C-02FF09B533AA}"/>
          </ac:spMkLst>
        </pc:spChg>
      </pc:sldChg>
      <pc:sldChg chg="add del">
        <pc:chgData name="Schäfermeier, Bastian" userId="222eb8a9-5069-4046-88bd-a10549caffd0" providerId="ADAL" clId="{B697347A-15D2-4582-B8D9-83DC42EC9991}" dt="2023-08-15T09:30:13.603" v="426"/>
        <pc:sldMkLst>
          <pc:docMk/>
          <pc:sldMk cId="3783789947" sldId="382"/>
        </pc:sldMkLst>
      </pc:sldChg>
      <pc:sldChg chg="add del">
        <pc:chgData name="Schäfermeier, Bastian" userId="222eb8a9-5069-4046-88bd-a10549caffd0" providerId="ADAL" clId="{B697347A-15D2-4582-B8D9-83DC42EC9991}" dt="2023-08-15T12:04:42.316" v="3171" actId="47"/>
        <pc:sldMkLst>
          <pc:docMk/>
          <pc:sldMk cId="3627513524" sldId="383"/>
        </pc:sldMkLst>
      </pc:sldChg>
      <pc:sldChg chg="addSp delSp modSp add mod ord">
        <pc:chgData name="Schäfermeier, Bastian" userId="222eb8a9-5069-4046-88bd-a10549caffd0" providerId="ADAL" clId="{B697347A-15D2-4582-B8D9-83DC42EC9991}" dt="2023-08-15T12:09:15.379" v="3273" actId="478"/>
        <pc:sldMkLst>
          <pc:docMk/>
          <pc:sldMk cId="3376951999" sldId="384"/>
        </pc:sldMkLst>
        <pc:spChg chg="mod">
          <ac:chgData name="Schäfermeier, Bastian" userId="222eb8a9-5069-4046-88bd-a10549caffd0" providerId="ADAL" clId="{B697347A-15D2-4582-B8D9-83DC42EC9991}" dt="2023-08-15T12:07:59.778" v="3249" actId="20577"/>
          <ac:spMkLst>
            <pc:docMk/>
            <pc:sldMk cId="3376951999" sldId="384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B697347A-15D2-4582-B8D9-83DC42EC9991}" dt="2023-08-15T12:09:07.141" v="3271" actId="20577"/>
          <ac:spMkLst>
            <pc:docMk/>
            <pc:sldMk cId="3376951999" sldId="384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B697347A-15D2-4582-B8D9-83DC42EC9991}" dt="2023-08-15T12:09:15.379" v="3273" actId="478"/>
          <ac:spMkLst>
            <pc:docMk/>
            <pc:sldMk cId="3376951999" sldId="384"/>
            <ac:spMk id="8" creationId="{BE5B3181-1870-D4DE-FC58-FA7E3E9D6274}"/>
          </ac:spMkLst>
        </pc:spChg>
        <pc:spChg chg="del mod">
          <ac:chgData name="Schäfermeier, Bastian" userId="222eb8a9-5069-4046-88bd-a10549caffd0" providerId="ADAL" clId="{B697347A-15D2-4582-B8D9-83DC42EC9991}" dt="2023-08-15T12:09:10.811" v="3272" actId="478"/>
          <ac:spMkLst>
            <pc:docMk/>
            <pc:sldMk cId="3376951999" sldId="384"/>
            <ac:spMk id="15" creationId="{9175E41B-8D90-4B9C-AA0C-02FF09B533AA}"/>
          </ac:spMkLst>
        </pc:spChg>
      </pc:sldChg>
      <pc:sldChg chg="addSp delSp modSp add del mod ord">
        <pc:chgData name="Schäfermeier, Bastian" userId="222eb8a9-5069-4046-88bd-a10549caffd0" providerId="ADAL" clId="{B697347A-15D2-4582-B8D9-83DC42EC9991}" dt="2023-08-15T14:11:30.733" v="3394" actId="47"/>
        <pc:sldMkLst>
          <pc:docMk/>
          <pc:sldMk cId="940341856" sldId="385"/>
        </pc:sldMkLst>
        <pc:spChg chg="mod">
          <ac:chgData name="Schäfermeier, Bastian" userId="222eb8a9-5069-4046-88bd-a10549caffd0" providerId="ADAL" clId="{B697347A-15D2-4582-B8D9-83DC42EC9991}" dt="2023-08-15T12:09:19.570" v="3274"/>
          <ac:spMkLst>
            <pc:docMk/>
            <pc:sldMk cId="940341856" sldId="385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B697347A-15D2-4582-B8D9-83DC42EC9991}" dt="2023-08-15T12:09:25.050" v="3277" actId="478"/>
          <ac:spMkLst>
            <pc:docMk/>
            <pc:sldMk cId="940341856" sldId="385"/>
            <ac:spMk id="8" creationId="{F1420B76-B4FB-2197-6210-B0F5CA625778}"/>
          </ac:spMkLst>
        </pc:spChg>
        <pc:spChg chg="del">
          <ac:chgData name="Schäfermeier, Bastian" userId="222eb8a9-5069-4046-88bd-a10549caffd0" providerId="ADAL" clId="{B697347A-15D2-4582-B8D9-83DC42EC9991}" dt="2023-08-15T12:09:23.322" v="3275" actId="478"/>
          <ac:spMkLst>
            <pc:docMk/>
            <pc:sldMk cId="940341856" sldId="385"/>
            <ac:spMk id="15" creationId="{9175E41B-8D90-4B9C-AA0C-02FF09B533AA}"/>
          </ac:spMkLst>
        </pc:spChg>
      </pc:sldChg>
      <pc:sldChg chg="add del">
        <pc:chgData name="Schäfermeier, Bastian" userId="222eb8a9-5069-4046-88bd-a10549caffd0" providerId="ADAL" clId="{B697347A-15D2-4582-B8D9-83DC42EC9991}" dt="2023-08-15T11:50:35.724" v="2492"/>
        <pc:sldMkLst>
          <pc:docMk/>
          <pc:sldMk cId="948271399" sldId="386"/>
        </pc:sldMkLst>
      </pc:sldChg>
      <pc:sldChg chg="modSp add mod">
        <pc:chgData name="Schäfermeier, Bastian" userId="222eb8a9-5069-4046-88bd-a10549caffd0" providerId="ADAL" clId="{B697347A-15D2-4582-B8D9-83DC42EC9991}" dt="2023-08-15T12:05:02.583" v="3202" actId="20577"/>
        <pc:sldMkLst>
          <pc:docMk/>
          <pc:sldMk cId="3953651309" sldId="386"/>
        </pc:sldMkLst>
        <pc:spChg chg="mod">
          <ac:chgData name="Schäfermeier, Bastian" userId="222eb8a9-5069-4046-88bd-a10549caffd0" providerId="ADAL" clId="{B697347A-15D2-4582-B8D9-83DC42EC9991}" dt="2023-08-15T11:57:58.747" v="2786" actId="20577"/>
          <ac:spMkLst>
            <pc:docMk/>
            <pc:sldMk cId="3953651309" sldId="386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697347A-15D2-4582-B8D9-83DC42EC9991}" dt="2023-08-15T12:05:02.583" v="3202" actId="20577"/>
          <ac:spMkLst>
            <pc:docMk/>
            <pc:sldMk cId="3953651309" sldId="386"/>
            <ac:spMk id="7" creationId="{22464388-2ECA-4EEA-8E18-9F2C9F7BAE36}"/>
          </ac:spMkLst>
        </pc:spChg>
      </pc:sldChg>
      <pc:sldChg chg="addSp modSp add mod">
        <pc:chgData name="Schäfermeier, Bastian" userId="222eb8a9-5069-4046-88bd-a10549caffd0" providerId="ADAL" clId="{B697347A-15D2-4582-B8D9-83DC42EC9991}" dt="2023-08-15T12:15:59.384" v="3302" actId="20577"/>
        <pc:sldMkLst>
          <pc:docMk/>
          <pc:sldMk cId="2524610114" sldId="387"/>
        </pc:sldMkLst>
        <pc:spChg chg="add mod">
          <ac:chgData name="Schäfermeier, Bastian" userId="222eb8a9-5069-4046-88bd-a10549caffd0" providerId="ADAL" clId="{B697347A-15D2-4582-B8D9-83DC42EC9991}" dt="2023-08-15T12:15:36.228" v="3299" actId="14100"/>
          <ac:spMkLst>
            <pc:docMk/>
            <pc:sldMk cId="2524610114" sldId="387"/>
            <ac:spMk id="2" creationId="{638FF2BF-A68F-8839-CE5F-1515DD70306F}"/>
          </ac:spMkLst>
        </pc:spChg>
        <pc:spChg chg="mod">
          <ac:chgData name="Schäfermeier, Bastian" userId="222eb8a9-5069-4046-88bd-a10549caffd0" providerId="ADAL" clId="{B697347A-15D2-4582-B8D9-83DC42EC9991}" dt="2023-08-15T12:14:09.705" v="3292" actId="14100"/>
          <ac:spMkLst>
            <pc:docMk/>
            <pc:sldMk cId="2524610114" sldId="387"/>
            <ac:spMk id="5" creationId="{DBCE971E-BC53-5208-D0B0-346B7A5D6E36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8" creationId="{D6A7CADD-0829-D348-BA92-EB01D3E80ACF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10" creationId="{FDDB0219-2211-E270-CACA-D3C1C30CF9A9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11" creationId="{19CDF207-71AD-916D-F317-74F1A26C0A3B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12" creationId="{E242C7A3-7323-F444-BFC9-59F4AF52F844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13" creationId="{26D16291-92CB-19EC-A0C2-65C03FBD4034}"/>
          </ac:spMkLst>
        </pc:spChg>
        <pc:spChg chg="add mod">
          <ac:chgData name="Schäfermeier, Bastian" userId="222eb8a9-5069-4046-88bd-a10549caffd0" providerId="ADAL" clId="{B697347A-15D2-4582-B8D9-83DC42EC9991}" dt="2023-08-15T12:15:25.242" v="3296" actId="1076"/>
          <ac:spMkLst>
            <pc:docMk/>
            <pc:sldMk cId="2524610114" sldId="387"/>
            <ac:spMk id="17" creationId="{9A2343CB-11D1-6EDC-B178-672434F24B9D}"/>
          </ac:spMkLst>
        </pc:spChg>
        <pc:spChg chg="add mod">
          <ac:chgData name="Schäfermeier, Bastian" userId="222eb8a9-5069-4046-88bd-a10549caffd0" providerId="ADAL" clId="{B697347A-15D2-4582-B8D9-83DC42EC9991}" dt="2023-08-15T12:15:59.384" v="3302" actId="20577"/>
          <ac:spMkLst>
            <pc:docMk/>
            <pc:sldMk cId="2524610114" sldId="387"/>
            <ac:spMk id="18" creationId="{1A36909F-7D04-DC93-CBD9-6E9270ACFE1D}"/>
          </ac:spMkLst>
        </pc:spChg>
        <pc:cxnChg chg="add mod">
          <ac:chgData name="Schäfermeier, Bastian" userId="222eb8a9-5069-4046-88bd-a10549caffd0" providerId="ADAL" clId="{B697347A-15D2-4582-B8D9-83DC42EC9991}" dt="2023-08-15T12:15:58.544" v="3300" actId="20577"/>
          <ac:cxnSpMkLst>
            <pc:docMk/>
            <pc:sldMk cId="2524610114" sldId="387"/>
            <ac:cxnSpMk id="14" creationId="{5166FAFD-7DE5-3A26-3858-E6696F27EEFB}"/>
          </ac:cxnSpMkLst>
        </pc:cxnChg>
        <pc:cxnChg chg="add mod">
          <ac:chgData name="Schäfermeier, Bastian" userId="222eb8a9-5069-4046-88bd-a10549caffd0" providerId="ADAL" clId="{B697347A-15D2-4582-B8D9-83DC42EC9991}" dt="2023-08-15T12:15:25.242" v="3296" actId="1076"/>
          <ac:cxnSpMkLst>
            <pc:docMk/>
            <pc:sldMk cId="2524610114" sldId="387"/>
            <ac:cxnSpMk id="15" creationId="{F933A614-5A96-34C7-9686-B274874FC64C}"/>
          </ac:cxnSpMkLst>
        </pc:cxnChg>
        <pc:cxnChg chg="add mod">
          <ac:chgData name="Schäfermeier, Bastian" userId="222eb8a9-5069-4046-88bd-a10549caffd0" providerId="ADAL" clId="{B697347A-15D2-4582-B8D9-83DC42EC9991}" dt="2023-08-15T12:15:25.242" v="3296" actId="1076"/>
          <ac:cxnSpMkLst>
            <pc:docMk/>
            <pc:sldMk cId="2524610114" sldId="387"/>
            <ac:cxnSpMk id="16" creationId="{012191A9-6794-37F7-C2F8-85ED81BC9B49}"/>
          </ac:cxnSpMkLst>
        </pc:cxnChg>
        <pc:cxnChg chg="add mod">
          <ac:chgData name="Schäfermeier, Bastian" userId="222eb8a9-5069-4046-88bd-a10549caffd0" providerId="ADAL" clId="{B697347A-15D2-4582-B8D9-83DC42EC9991}" dt="2023-08-15T12:15:25.242" v="3296" actId="1076"/>
          <ac:cxnSpMkLst>
            <pc:docMk/>
            <pc:sldMk cId="2524610114" sldId="387"/>
            <ac:cxnSpMk id="19" creationId="{174B9431-EAB5-820A-5B6D-C1A8409A5D0B}"/>
          </ac:cxnSpMkLst>
        </pc:cxnChg>
        <pc:cxnChg chg="add mod">
          <ac:chgData name="Schäfermeier, Bastian" userId="222eb8a9-5069-4046-88bd-a10549caffd0" providerId="ADAL" clId="{B697347A-15D2-4582-B8D9-83DC42EC9991}" dt="2023-08-15T12:15:25.242" v="3296" actId="1076"/>
          <ac:cxnSpMkLst>
            <pc:docMk/>
            <pc:sldMk cId="2524610114" sldId="387"/>
            <ac:cxnSpMk id="20" creationId="{A413034D-E7E8-00EC-C209-9465B91C81CA}"/>
          </ac:cxnSpMkLst>
        </pc:cxnChg>
      </pc:sldChg>
      <pc:sldChg chg="modSp add mod">
        <pc:chgData name="Schäfermeier, Bastian" userId="222eb8a9-5069-4046-88bd-a10549caffd0" providerId="ADAL" clId="{B697347A-15D2-4582-B8D9-83DC42EC9991}" dt="2023-08-15T12:09:56.088" v="3280" actId="207"/>
        <pc:sldMkLst>
          <pc:docMk/>
          <pc:sldMk cId="1977462614" sldId="388"/>
        </pc:sldMkLst>
        <pc:spChg chg="mod">
          <ac:chgData name="Schäfermeier, Bastian" userId="222eb8a9-5069-4046-88bd-a10549caffd0" providerId="ADAL" clId="{B697347A-15D2-4582-B8D9-83DC42EC9991}" dt="2023-08-15T12:09:56.088" v="3280" actId="207"/>
          <ac:spMkLst>
            <pc:docMk/>
            <pc:sldMk cId="1977462614" sldId="388"/>
            <ac:spMk id="2" creationId="{3023E634-4318-419C-B03F-D5665391FB05}"/>
          </ac:spMkLst>
        </pc:spChg>
      </pc:sldChg>
      <pc:sldChg chg="modSp add mod">
        <pc:chgData name="Schäfermeier, Bastian" userId="222eb8a9-5069-4046-88bd-a10549caffd0" providerId="ADAL" clId="{B697347A-15D2-4582-B8D9-83DC42EC9991}" dt="2023-08-15T12:10:07.595" v="3282" actId="207"/>
        <pc:sldMkLst>
          <pc:docMk/>
          <pc:sldMk cId="1228772662" sldId="389"/>
        </pc:sldMkLst>
        <pc:spChg chg="mod">
          <ac:chgData name="Schäfermeier, Bastian" userId="222eb8a9-5069-4046-88bd-a10549caffd0" providerId="ADAL" clId="{B697347A-15D2-4582-B8D9-83DC42EC9991}" dt="2023-08-15T12:10:07.595" v="3282" actId="207"/>
          <ac:spMkLst>
            <pc:docMk/>
            <pc:sldMk cId="1228772662" sldId="389"/>
            <ac:spMk id="2" creationId="{3023E634-4318-419C-B03F-D5665391FB05}"/>
          </ac:spMkLst>
        </pc:spChg>
      </pc:sldChg>
      <pc:sldChg chg="modSp add mod">
        <pc:chgData name="Schäfermeier, Bastian" userId="222eb8a9-5069-4046-88bd-a10549caffd0" providerId="ADAL" clId="{B697347A-15D2-4582-B8D9-83DC42EC9991}" dt="2023-08-15T12:10:25.365" v="3284" actId="207"/>
        <pc:sldMkLst>
          <pc:docMk/>
          <pc:sldMk cId="3911815622" sldId="390"/>
        </pc:sldMkLst>
        <pc:spChg chg="mod">
          <ac:chgData name="Schäfermeier, Bastian" userId="222eb8a9-5069-4046-88bd-a10549caffd0" providerId="ADAL" clId="{B697347A-15D2-4582-B8D9-83DC42EC9991}" dt="2023-08-15T12:10:25.365" v="3284" actId="207"/>
          <ac:spMkLst>
            <pc:docMk/>
            <pc:sldMk cId="3911815622" sldId="390"/>
            <ac:spMk id="2" creationId="{3023E634-4318-419C-B03F-D5665391FB05}"/>
          </ac:spMkLst>
        </pc:spChg>
      </pc:sldChg>
      <pc:sldChg chg="modSp add mod">
        <pc:chgData name="Schäfermeier, Bastian" userId="222eb8a9-5069-4046-88bd-a10549caffd0" providerId="ADAL" clId="{B697347A-15D2-4582-B8D9-83DC42EC9991}" dt="2023-08-15T12:10:42.996" v="3286" actId="207"/>
        <pc:sldMkLst>
          <pc:docMk/>
          <pc:sldMk cId="1872343906" sldId="391"/>
        </pc:sldMkLst>
        <pc:spChg chg="mod">
          <ac:chgData name="Schäfermeier, Bastian" userId="222eb8a9-5069-4046-88bd-a10549caffd0" providerId="ADAL" clId="{B697347A-15D2-4582-B8D9-83DC42EC9991}" dt="2023-08-15T12:10:42.996" v="3286" actId="207"/>
          <ac:spMkLst>
            <pc:docMk/>
            <pc:sldMk cId="1872343906" sldId="391"/>
            <ac:spMk id="2" creationId="{3023E634-4318-419C-B03F-D5665391FB05}"/>
          </ac:spMkLst>
        </pc:spChg>
      </pc:sldChg>
      <pc:sldChg chg="modSp add mod">
        <pc:chgData name="Schäfermeier, Bastian" userId="222eb8a9-5069-4046-88bd-a10549caffd0" providerId="ADAL" clId="{B697347A-15D2-4582-B8D9-83DC42EC9991}" dt="2023-08-15T12:11:16.533" v="3288" actId="207"/>
        <pc:sldMkLst>
          <pc:docMk/>
          <pc:sldMk cId="489205870" sldId="392"/>
        </pc:sldMkLst>
        <pc:spChg chg="mod">
          <ac:chgData name="Schäfermeier, Bastian" userId="222eb8a9-5069-4046-88bd-a10549caffd0" providerId="ADAL" clId="{B697347A-15D2-4582-B8D9-83DC42EC9991}" dt="2023-08-15T12:11:16.533" v="3288" actId="207"/>
          <ac:spMkLst>
            <pc:docMk/>
            <pc:sldMk cId="489205870" sldId="392"/>
            <ac:spMk id="2" creationId="{3023E634-4318-419C-B03F-D5665391FB05}"/>
          </ac:spMkLst>
        </pc:spChg>
      </pc:sldChg>
      <pc:sldChg chg="add del">
        <pc:chgData name="Schäfermeier, Bastian" userId="222eb8a9-5069-4046-88bd-a10549caffd0" providerId="ADAL" clId="{B697347A-15D2-4582-B8D9-83DC42EC9991}" dt="2023-08-15T12:12:01.970" v="3291" actId="2890"/>
        <pc:sldMkLst>
          <pc:docMk/>
          <pc:sldMk cId="2739286226" sldId="393"/>
        </pc:sldMkLst>
      </pc:sldChg>
    </pc:docChg>
  </pc:docChgLst>
  <pc:docChgLst>
    <pc:chgData name="Schäfermeier, Bastian" userId="222eb8a9-5069-4046-88bd-a10549caffd0" providerId="ADAL" clId="{D1DCED53-C84F-4427-895D-0C9DFBD0DF2C}"/>
    <pc:docChg chg="undo redo custSel addSld delSld modSld sldOrd modSection">
      <pc:chgData name="Schäfermeier, Bastian" userId="222eb8a9-5069-4046-88bd-a10549caffd0" providerId="ADAL" clId="{D1DCED53-C84F-4427-895D-0C9DFBD0DF2C}" dt="2024-09-17T15:18:32.784" v="5589" actId="20577"/>
      <pc:docMkLst>
        <pc:docMk/>
      </pc:docMkLst>
      <pc:sldChg chg="addSp delSp modSp mod">
        <pc:chgData name="Schäfermeier, Bastian" userId="222eb8a9-5069-4046-88bd-a10549caffd0" providerId="ADAL" clId="{D1DCED53-C84F-4427-895D-0C9DFBD0DF2C}" dt="2024-09-12T09:42:37.381" v="3182" actId="1035"/>
        <pc:sldMkLst>
          <pc:docMk/>
          <pc:sldMk cId="3162220561" sldId="355"/>
        </pc:sldMkLst>
        <pc:spChg chg="add del mod">
          <ac:chgData name="Schäfermeier, Bastian" userId="222eb8a9-5069-4046-88bd-a10549caffd0" providerId="ADAL" clId="{D1DCED53-C84F-4427-895D-0C9DFBD0DF2C}" dt="2024-09-12T09:42:37.381" v="3182" actId="1035"/>
          <ac:spMkLst>
            <pc:docMk/>
            <pc:sldMk cId="3162220561" sldId="355"/>
            <ac:spMk id="4" creationId="{00774973-FAE3-E740-413F-6CBA2AE26995}"/>
          </ac:spMkLst>
        </pc:spChg>
        <pc:spChg chg="mod">
          <ac:chgData name="Schäfermeier, Bastian" userId="222eb8a9-5069-4046-88bd-a10549caffd0" providerId="ADAL" clId="{D1DCED53-C84F-4427-895D-0C9DFBD0DF2C}" dt="2024-09-12T09:42:23.460" v="3167" actId="948"/>
          <ac:spMkLst>
            <pc:docMk/>
            <pc:sldMk cId="3162220561" sldId="355"/>
            <ac:spMk id="5" creationId="{74E97DF8-C1D4-4738-8989-E78F9E0E9897}"/>
          </ac:spMkLst>
        </pc:spChg>
        <pc:picChg chg="add mod">
          <ac:chgData name="Schäfermeier, Bastian" userId="222eb8a9-5069-4046-88bd-a10549caffd0" providerId="ADAL" clId="{D1DCED53-C84F-4427-895D-0C9DFBD0DF2C}" dt="2024-09-12T09:42:37.381" v="3182" actId="1035"/>
          <ac:picMkLst>
            <pc:docMk/>
            <pc:sldMk cId="3162220561" sldId="355"/>
            <ac:picMk id="3" creationId="{BD30AC00-3B29-88EA-4B6A-958EFB39645D}"/>
          </ac:picMkLst>
        </pc:picChg>
      </pc:sldChg>
      <pc:sldChg chg="addSp delSp modSp mod">
        <pc:chgData name="Schäfermeier, Bastian" userId="222eb8a9-5069-4046-88bd-a10549caffd0" providerId="ADAL" clId="{D1DCED53-C84F-4427-895D-0C9DFBD0DF2C}" dt="2024-09-17T14:48:07.751" v="4459" actId="20577"/>
        <pc:sldMkLst>
          <pc:docMk/>
          <pc:sldMk cId="2770105539" sldId="385"/>
        </pc:sldMkLst>
        <pc:spChg chg="add del mod">
          <ac:chgData name="Schäfermeier, Bastian" userId="222eb8a9-5069-4046-88bd-a10549caffd0" providerId="ADAL" clId="{D1DCED53-C84F-4427-895D-0C9DFBD0DF2C}" dt="2024-09-17T13:03:10.806" v="3494" actId="478"/>
          <ac:spMkLst>
            <pc:docMk/>
            <pc:sldMk cId="2770105539" sldId="385"/>
            <ac:spMk id="2" creationId="{825FF5FD-7333-2DFE-CD70-621B73197588}"/>
          </ac:spMkLst>
        </pc:spChg>
        <pc:spChg chg="mod">
          <ac:chgData name="Schäfermeier, Bastian" userId="222eb8a9-5069-4046-88bd-a10549caffd0" providerId="ADAL" clId="{D1DCED53-C84F-4427-895D-0C9DFBD0DF2C}" dt="2024-09-17T14:48:07.751" v="4459" actId="20577"/>
          <ac:spMkLst>
            <pc:docMk/>
            <pc:sldMk cId="2770105539" sldId="385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2T07:37:51.729" v="124" actId="20577"/>
          <ac:spMkLst>
            <pc:docMk/>
            <pc:sldMk cId="2770105539" sldId="385"/>
            <ac:spMk id="7" creationId="{22464388-2ECA-4EEA-8E18-9F2C9F7BAE36}"/>
          </ac:spMkLst>
        </pc:spChg>
        <pc:picChg chg="del">
          <ac:chgData name="Schäfermeier, Bastian" userId="222eb8a9-5069-4046-88bd-a10549caffd0" providerId="ADAL" clId="{D1DCED53-C84F-4427-895D-0C9DFBD0DF2C}" dt="2024-09-12T07:38:01.783" v="125" actId="478"/>
          <ac:picMkLst>
            <pc:docMk/>
            <pc:sldMk cId="2770105539" sldId="385"/>
            <ac:picMk id="10" creationId="{6DD04377-DAB4-5282-D9CF-150967895FB9}"/>
          </ac:picMkLst>
        </pc:picChg>
        <pc:picChg chg="add del mod modCrop">
          <ac:chgData name="Schäfermeier, Bastian" userId="222eb8a9-5069-4046-88bd-a10549caffd0" providerId="ADAL" clId="{D1DCED53-C84F-4427-895D-0C9DFBD0DF2C}" dt="2024-09-17T14:36:24.191" v="3954" actId="21"/>
          <ac:picMkLst>
            <pc:docMk/>
            <pc:sldMk cId="2770105539" sldId="385"/>
            <ac:picMk id="11" creationId="{141CAAF5-782B-7889-0967-16EFE19F6B23}"/>
          </ac:picMkLst>
        </pc:picChg>
        <pc:picChg chg="add del mod">
          <ac:chgData name="Schäfermeier, Bastian" userId="222eb8a9-5069-4046-88bd-a10549caffd0" providerId="ADAL" clId="{D1DCED53-C84F-4427-895D-0C9DFBD0DF2C}" dt="2024-09-17T14:39:18.781" v="4032" actId="478"/>
          <ac:picMkLst>
            <pc:docMk/>
            <pc:sldMk cId="2770105539" sldId="385"/>
            <ac:picMk id="13" creationId="{3340C00F-927E-BA1C-0667-E709D71CFE25}"/>
          </ac:picMkLst>
        </pc:picChg>
        <pc:picChg chg="add mod">
          <ac:chgData name="Schäfermeier, Bastian" userId="222eb8a9-5069-4046-88bd-a10549caffd0" providerId="ADAL" clId="{D1DCED53-C84F-4427-895D-0C9DFBD0DF2C}" dt="2024-09-17T14:45:13.164" v="4289" actId="1076"/>
          <ac:picMkLst>
            <pc:docMk/>
            <pc:sldMk cId="2770105539" sldId="385"/>
            <ac:picMk id="15" creationId="{141CAAF5-782B-7889-0967-16EFE19F6B23}"/>
          </ac:picMkLst>
        </pc:picChg>
      </pc:sldChg>
      <pc:sldChg chg="del">
        <pc:chgData name="Schäfermeier, Bastian" userId="222eb8a9-5069-4046-88bd-a10549caffd0" providerId="ADAL" clId="{D1DCED53-C84F-4427-895D-0C9DFBD0DF2C}" dt="2024-09-12T07:37:28.887" v="104" actId="47"/>
        <pc:sldMkLst>
          <pc:docMk/>
          <pc:sldMk cId="4115235854" sldId="389"/>
        </pc:sldMkLst>
      </pc:sldChg>
      <pc:sldChg chg="del">
        <pc:chgData name="Schäfermeier, Bastian" userId="222eb8a9-5069-4046-88bd-a10549caffd0" providerId="ADAL" clId="{D1DCED53-C84F-4427-895D-0C9DFBD0DF2C}" dt="2024-09-12T07:37:28.887" v="104" actId="47"/>
        <pc:sldMkLst>
          <pc:docMk/>
          <pc:sldMk cId="2790896528" sldId="390"/>
        </pc:sldMkLst>
      </pc:sldChg>
      <pc:sldChg chg="del">
        <pc:chgData name="Schäfermeier, Bastian" userId="222eb8a9-5069-4046-88bd-a10549caffd0" providerId="ADAL" clId="{D1DCED53-C84F-4427-895D-0C9DFBD0DF2C}" dt="2024-09-12T07:37:28.887" v="104" actId="47"/>
        <pc:sldMkLst>
          <pc:docMk/>
          <pc:sldMk cId="845166466" sldId="391"/>
        </pc:sldMkLst>
      </pc:sldChg>
      <pc:sldChg chg="del">
        <pc:chgData name="Schäfermeier, Bastian" userId="222eb8a9-5069-4046-88bd-a10549caffd0" providerId="ADAL" clId="{D1DCED53-C84F-4427-895D-0C9DFBD0DF2C}" dt="2024-09-12T07:37:28.887" v="104" actId="47"/>
        <pc:sldMkLst>
          <pc:docMk/>
          <pc:sldMk cId="3977110310" sldId="392"/>
        </pc:sldMkLst>
      </pc:sldChg>
      <pc:sldChg chg="del">
        <pc:chgData name="Schäfermeier, Bastian" userId="222eb8a9-5069-4046-88bd-a10549caffd0" providerId="ADAL" clId="{D1DCED53-C84F-4427-895D-0C9DFBD0DF2C}" dt="2024-09-12T07:38:21.731" v="128" actId="47"/>
        <pc:sldMkLst>
          <pc:docMk/>
          <pc:sldMk cId="2361218368" sldId="393"/>
        </pc:sldMkLst>
      </pc:sldChg>
      <pc:sldChg chg="del">
        <pc:chgData name="Schäfermeier, Bastian" userId="222eb8a9-5069-4046-88bd-a10549caffd0" providerId="ADAL" clId="{D1DCED53-C84F-4427-895D-0C9DFBD0DF2C}" dt="2024-09-12T07:41:38.384" v="218" actId="47"/>
        <pc:sldMkLst>
          <pc:docMk/>
          <pc:sldMk cId="2903972943" sldId="394"/>
        </pc:sldMkLst>
      </pc:sldChg>
      <pc:sldChg chg="addSp delSp modSp add mod">
        <pc:chgData name="Schäfermeier, Bastian" userId="222eb8a9-5069-4046-88bd-a10549caffd0" providerId="ADAL" clId="{D1DCED53-C84F-4427-895D-0C9DFBD0DF2C}" dt="2024-09-17T14:48:27.152" v="4460" actId="113"/>
        <pc:sldMkLst>
          <pc:docMk/>
          <pc:sldMk cId="489160292" sldId="395"/>
        </pc:sldMkLst>
        <pc:spChg chg="mod">
          <ac:chgData name="Schäfermeier, Bastian" userId="222eb8a9-5069-4046-88bd-a10549caffd0" providerId="ADAL" clId="{D1DCED53-C84F-4427-895D-0C9DFBD0DF2C}" dt="2024-09-17T14:48:27.152" v="4460" actId="113"/>
          <ac:spMkLst>
            <pc:docMk/>
            <pc:sldMk cId="489160292" sldId="395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2T07:38:59.412" v="145" actId="20577"/>
          <ac:spMkLst>
            <pc:docMk/>
            <pc:sldMk cId="489160292" sldId="395"/>
            <ac:spMk id="7" creationId="{22464388-2ECA-4EEA-8E18-9F2C9F7BAE36}"/>
          </ac:spMkLst>
        </pc:spChg>
        <pc:grpChg chg="add del mod">
          <ac:chgData name="Schäfermeier, Bastian" userId="222eb8a9-5069-4046-88bd-a10549caffd0" providerId="ADAL" clId="{D1DCED53-C84F-4427-895D-0C9DFBD0DF2C}" dt="2024-09-17T14:30:56.930" v="3930" actId="478"/>
          <ac:grpSpMkLst>
            <pc:docMk/>
            <pc:sldMk cId="489160292" sldId="395"/>
            <ac:grpSpMk id="8" creationId="{A9BF9533-F3B9-6311-A551-E8271C17C4EB}"/>
          </ac:grpSpMkLst>
        </pc:grpChg>
        <pc:picChg chg="add del mod">
          <ac:chgData name="Schäfermeier, Bastian" userId="222eb8a9-5069-4046-88bd-a10549caffd0" providerId="ADAL" clId="{D1DCED53-C84F-4427-895D-0C9DFBD0DF2C}" dt="2024-09-12T07:39:41.804" v="162" actId="478"/>
          <ac:picMkLst>
            <pc:docMk/>
            <pc:sldMk cId="489160292" sldId="395"/>
            <ac:picMk id="2" creationId="{71D09807-4FA3-774C-3CB5-5117037A2BD4}"/>
          </ac:picMkLst>
        </pc:picChg>
        <pc:picChg chg="mod">
          <ac:chgData name="Schäfermeier, Bastian" userId="222eb8a9-5069-4046-88bd-a10549caffd0" providerId="ADAL" clId="{D1DCED53-C84F-4427-895D-0C9DFBD0DF2C}" dt="2024-09-12T07:39:44.651" v="163"/>
          <ac:picMkLst>
            <pc:docMk/>
            <pc:sldMk cId="489160292" sldId="395"/>
            <ac:picMk id="10" creationId="{68C18A75-2EF5-DAFB-630D-AC9E514841FC}"/>
          </ac:picMkLst>
        </pc:picChg>
        <pc:picChg chg="mod">
          <ac:chgData name="Schäfermeier, Bastian" userId="222eb8a9-5069-4046-88bd-a10549caffd0" providerId="ADAL" clId="{D1DCED53-C84F-4427-895D-0C9DFBD0DF2C}" dt="2024-09-12T07:39:44.651" v="163"/>
          <ac:picMkLst>
            <pc:docMk/>
            <pc:sldMk cId="489160292" sldId="395"/>
            <ac:picMk id="11" creationId="{8BF610C1-8731-AD36-E0AF-BD20115AAF05}"/>
          </ac:picMkLst>
        </pc:picChg>
        <pc:picChg chg="mod">
          <ac:chgData name="Schäfermeier, Bastian" userId="222eb8a9-5069-4046-88bd-a10549caffd0" providerId="ADAL" clId="{D1DCED53-C84F-4427-895D-0C9DFBD0DF2C}" dt="2024-09-12T07:39:44.651" v="163"/>
          <ac:picMkLst>
            <pc:docMk/>
            <pc:sldMk cId="489160292" sldId="395"/>
            <ac:picMk id="12" creationId="{C2056D0E-40B3-1449-88C2-DFCA416E40F0}"/>
          </ac:picMkLst>
        </pc:picChg>
        <pc:picChg chg="add mod">
          <ac:chgData name="Schäfermeier, Bastian" userId="222eb8a9-5069-4046-88bd-a10549caffd0" providerId="ADAL" clId="{D1DCED53-C84F-4427-895D-0C9DFBD0DF2C}" dt="2024-09-17T14:47:02.760" v="4401" actId="1076"/>
          <ac:picMkLst>
            <pc:docMk/>
            <pc:sldMk cId="489160292" sldId="395"/>
            <ac:picMk id="14" creationId="{E5230C4C-3DD1-E70B-9EFD-164D13003CF7}"/>
          </ac:picMkLst>
        </pc:picChg>
        <pc:picChg chg="add del mod">
          <ac:chgData name="Schäfermeier, Bastian" userId="222eb8a9-5069-4046-88bd-a10549caffd0" providerId="ADAL" clId="{D1DCED53-C84F-4427-895D-0C9DFBD0DF2C}" dt="2024-09-17T14:39:11.350" v="4029" actId="21"/>
          <ac:picMkLst>
            <pc:docMk/>
            <pc:sldMk cId="489160292" sldId="395"/>
            <ac:picMk id="15" creationId="{141CAAF5-782B-7889-0967-16EFE19F6B23}"/>
          </ac:picMkLst>
        </pc:picChg>
      </pc:sldChg>
      <pc:sldChg chg="modSp add mod">
        <pc:chgData name="Schäfermeier, Bastian" userId="222eb8a9-5069-4046-88bd-a10549caffd0" providerId="ADAL" clId="{D1DCED53-C84F-4427-895D-0C9DFBD0DF2C}" dt="2024-09-17T15:09:44.604" v="5082" actId="20577"/>
        <pc:sldMkLst>
          <pc:docMk/>
          <pc:sldMk cId="1840303255" sldId="396"/>
        </pc:sldMkLst>
        <pc:spChg chg="mod">
          <ac:chgData name="Schäfermeier, Bastian" userId="222eb8a9-5069-4046-88bd-a10549caffd0" providerId="ADAL" clId="{D1DCED53-C84F-4427-895D-0C9DFBD0DF2C}" dt="2024-09-17T15:09:44.604" v="5082" actId="20577"/>
          <ac:spMkLst>
            <pc:docMk/>
            <pc:sldMk cId="1840303255" sldId="396"/>
            <ac:spMk id="5" creationId="{DBCE971E-BC53-5208-D0B0-346B7A5D6E36}"/>
          </ac:spMkLst>
        </pc:spChg>
      </pc:sldChg>
      <pc:sldChg chg="delSp modSp add mod">
        <pc:chgData name="Schäfermeier, Bastian" userId="222eb8a9-5069-4046-88bd-a10549caffd0" providerId="ADAL" clId="{D1DCED53-C84F-4427-895D-0C9DFBD0DF2C}" dt="2024-09-17T14:51:10.459" v="4489" actId="20577"/>
        <pc:sldMkLst>
          <pc:docMk/>
          <pc:sldMk cId="2773469368" sldId="397"/>
        </pc:sldMkLst>
        <pc:spChg chg="mod">
          <ac:chgData name="Schäfermeier, Bastian" userId="222eb8a9-5069-4046-88bd-a10549caffd0" providerId="ADAL" clId="{D1DCED53-C84F-4427-895D-0C9DFBD0DF2C}" dt="2024-09-17T14:51:10.459" v="4489" actId="20577"/>
          <ac:spMkLst>
            <pc:docMk/>
            <pc:sldMk cId="2773469368" sldId="397"/>
            <ac:spMk id="5" creationId="{DBCE971E-BC53-5208-D0B0-346B7A5D6E36}"/>
          </ac:spMkLst>
        </pc:spChg>
        <pc:picChg chg="del">
          <ac:chgData name="Schäfermeier, Bastian" userId="222eb8a9-5069-4046-88bd-a10549caffd0" providerId="ADAL" clId="{D1DCED53-C84F-4427-895D-0C9DFBD0DF2C}" dt="2024-09-12T07:40:36.495" v="179" actId="478"/>
          <ac:picMkLst>
            <pc:docMk/>
            <pc:sldMk cId="2773469368" sldId="397"/>
            <ac:picMk id="2" creationId="{71D09807-4FA3-774C-3CB5-5117037A2BD4}"/>
          </ac:picMkLst>
        </pc:picChg>
      </pc:sldChg>
      <pc:sldChg chg="addSp modSp add mod">
        <pc:chgData name="Schäfermeier, Bastian" userId="222eb8a9-5069-4046-88bd-a10549caffd0" providerId="ADAL" clId="{D1DCED53-C84F-4427-895D-0C9DFBD0DF2C}" dt="2024-09-17T15:00:09.994" v="4826" actId="113"/>
        <pc:sldMkLst>
          <pc:docMk/>
          <pc:sldMk cId="1489569121" sldId="398"/>
        </pc:sldMkLst>
        <pc:spChg chg="add mod">
          <ac:chgData name="Schäfermeier, Bastian" userId="222eb8a9-5069-4046-88bd-a10549caffd0" providerId="ADAL" clId="{D1DCED53-C84F-4427-895D-0C9DFBD0DF2C}" dt="2024-09-12T08:20:38.629" v="382" actId="14100"/>
          <ac:spMkLst>
            <pc:docMk/>
            <pc:sldMk cId="1489569121" sldId="398"/>
            <ac:spMk id="2" creationId="{C4873AA0-C633-D70C-108B-A8623460010C}"/>
          </ac:spMkLst>
        </pc:spChg>
        <pc:spChg chg="mod">
          <ac:chgData name="Schäfermeier, Bastian" userId="222eb8a9-5069-4046-88bd-a10549caffd0" providerId="ADAL" clId="{D1DCED53-C84F-4427-895D-0C9DFBD0DF2C}" dt="2024-09-17T15:00:09.994" v="4826" actId="113"/>
          <ac:spMkLst>
            <pc:docMk/>
            <pc:sldMk cId="1489569121" sldId="398"/>
            <ac:spMk id="5" creationId="{DBCE971E-BC53-5208-D0B0-346B7A5D6E36}"/>
          </ac:spMkLst>
        </pc:spChg>
        <pc:spChg chg="add mod">
          <ac:chgData name="Schäfermeier, Bastian" userId="222eb8a9-5069-4046-88bd-a10549caffd0" providerId="ADAL" clId="{D1DCED53-C84F-4427-895D-0C9DFBD0DF2C}" dt="2024-09-12T08:20:34.269" v="380" actId="1076"/>
          <ac:spMkLst>
            <pc:docMk/>
            <pc:sldMk cId="1489569121" sldId="398"/>
            <ac:spMk id="8" creationId="{D87C866C-6B60-C54A-EF25-B932C1C346C7}"/>
          </ac:spMkLst>
        </pc:spChg>
        <pc:spChg chg="add mod">
          <ac:chgData name="Schäfermeier, Bastian" userId="222eb8a9-5069-4046-88bd-a10549caffd0" providerId="ADAL" clId="{D1DCED53-C84F-4427-895D-0C9DFBD0DF2C}" dt="2024-09-12T08:24:16.761" v="488" actId="14100"/>
          <ac:spMkLst>
            <pc:docMk/>
            <pc:sldMk cId="1489569121" sldId="398"/>
            <ac:spMk id="10" creationId="{E6B434A0-B010-E436-994F-ECFC6B856232}"/>
          </ac:spMkLst>
        </pc:spChg>
      </pc:sldChg>
      <pc:sldChg chg="addSp delSp modSp add mod">
        <pc:chgData name="Schäfermeier, Bastian" userId="222eb8a9-5069-4046-88bd-a10549caffd0" providerId="ADAL" clId="{D1DCED53-C84F-4427-895D-0C9DFBD0DF2C}" dt="2024-09-17T14:56:28.191" v="4717" actId="20577"/>
        <pc:sldMkLst>
          <pc:docMk/>
          <pc:sldMk cId="2550254653" sldId="399"/>
        </pc:sldMkLst>
        <pc:spChg chg="del mod">
          <ac:chgData name="Schäfermeier, Bastian" userId="222eb8a9-5069-4046-88bd-a10549caffd0" providerId="ADAL" clId="{D1DCED53-C84F-4427-895D-0C9DFBD0DF2C}" dt="2024-09-12T08:58:51.074" v="1510" actId="478"/>
          <ac:spMkLst>
            <pc:docMk/>
            <pc:sldMk cId="2550254653" sldId="399"/>
            <ac:spMk id="2" creationId="{C4873AA0-C633-D70C-108B-A8623460010C}"/>
          </ac:spMkLst>
        </pc:spChg>
        <pc:spChg chg="mod">
          <ac:chgData name="Schäfermeier, Bastian" userId="222eb8a9-5069-4046-88bd-a10549caffd0" providerId="ADAL" clId="{D1DCED53-C84F-4427-895D-0C9DFBD0DF2C}" dt="2024-09-17T14:56:28.191" v="4717" actId="20577"/>
          <ac:spMkLst>
            <pc:docMk/>
            <pc:sldMk cId="2550254653" sldId="399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2T08:58:38.461" v="1507" actId="20577"/>
          <ac:spMkLst>
            <pc:docMk/>
            <pc:sldMk cId="2550254653" sldId="399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D1DCED53-C84F-4427-895D-0C9DFBD0DF2C}" dt="2024-09-12T08:58:51.074" v="1510" actId="478"/>
          <ac:spMkLst>
            <pc:docMk/>
            <pc:sldMk cId="2550254653" sldId="399"/>
            <ac:spMk id="8" creationId="{D87C866C-6B60-C54A-EF25-B932C1C346C7}"/>
          </ac:spMkLst>
        </pc:spChg>
        <pc:spChg chg="del">
          <ac:chgData name="Schäfermeier, Bastian" userId="222eb8a9-5069-4046-88bd-a10549caffd0" providerId="ADAL" clId="{D1DCED53-C84F-4427-895D-0C9DFBD0DF2C}" dt="2024-09-12T08:58:44.342" v="1508" actId="478"/>
          <ac:spMkLst>
            <pc:docMk/>
            <pc:sldMk cId="2550254653" sldId="399"/>
            <ac:spMk id="10" creationId="{E6B434A0-B010-E436-994F-ECFC6B856232}"/>
          </ac:spMkLst>
        </pc:spChg>
        <pc:picChg chg="add del mod">
          <ac:chgData name="Schäfermeier, Bastian" userId="222eb8a9-5069-4046-88bd-a10549caffd0" providerId="ADAL" clId="{D1DCED53-C84F-4427-895D-0C9DFBD0DF2C}" dt="2024-09-12T09:00:37.487" v="1592" actId="478"/>
          <ac:picMkLst>
            <pc:docMk/>
            <pc:sldMk cId="2550254653" sldId="399"/>
            <ac:picMk id="11" creationId="{91C5958B-E7FC-269B-0A65-976B2D6CCC68}"/>
          </ac:picMkLst>
        </pc:picChg>
        <pc:picChg chg="add mod">
          <ac:chgData name="Schäfermeier, Bastian" userId="222eb8a9-5069-4046-88bd-a10549caffd0" providerId="ADAL" clId="{D1DCED53-C84F-4427-895D-0C9DFBD0DF2C}" dt="2024-09-17T14:51:47.811" v="4495" actId="1076"/>
          <ac:picMkLst>
            <pc:docMk/>
            <pc:sldMk cId="2550254653" sldId="399"/>
            <ac:picMk id="12" creationId="{B565962C-5916-D0DB-7CCF-211131E7A062}"/>
          </ac:picMkLst>
        </pc:picChg>
        <pc:picChg chg="add del mod">
          <ac:chgData name="Schäfermeier, Bastian" userId="222eb8a9-5069-4046-88bd-a10549caffd0" providerId="ADAL" clId="{D1DCED53-C84F-4427-895D-0C9DFBD0DF2C}" dt="2024-09-17T14:51:34.218" v="4492" actId="478"/>
          <ac:picMkLst>
            <pc:docMk/>
            <pc:sldMk cId="2550254653" sldId="399"/>
            <ac:picMk id="13" creationId="{91C5958B-E7FC-269B-0A65-976B2D6CCC68}"/>
          </ac:picMkLst>
        </pc:picChg>
        <pc:picChg chg="add del mod">
          <ac:chgData name="Schäfermeier, Bastian" userId="222eb8a9-5069-4046-88bd-a10549caffd0" providerId="ADAL" clId="{D1DCED53-C84F-4427-895D-0C9DFBD0DF2C}" dt="2024-09-17T14:51:34.218" v="4492" actId="478"/>
          <ac:picMkLst>
            <pc:docMk/>
            <pc:sldMk cId="2550254653" sldId="399"/>
            <ac:picMk id="15" creationId="{ABE3B50D-218F-095E-D905-671155B99249}"/>
          </ac:picMkLst>
        </pc:picChg>
      </pc:sldChg>
      <pc:sldChg chg="addSp delSp modSp add mod">
        <pc:chgData name="Schäfermeier, Bastian" userId="222eb8a9-5069-4046-88bd-a10549caffd0" providerId="ADAL" clId="{D1DCED53-C84F-4427-895D-0C9DFBD0DF2C}" dt="2024-09-17T15:18:19.119" v="5588"/>
        <pc:sldMkLst>
          <pc:docMk/>
          <pc:sldMk cId="2179957879" sldId="400"/>
        </pc:sldMkLst>
        <pc:spChg chg="mod">
          <ac:chgData name="Schäfermeier, Bastian" userId="222eb8a9-5069-4046-88bd-a10549caffd0" providerId="ADAL" clId="{D1DCED53-C84F-4427-895D-0C9DFBD0DF2C}" dt="2024-09-12T09:13:06.903" v="2482" actId="1076"/>
          <ac:spMkLst>
            <pc:docMk/>
            <pc:sldMk cId="2179957879" sldId="400"/>
            <ac:spMk id="3" creationId="{F43F35B2-4B13-4AA9-BABC-6AC2B3B16BB7}"/>
          </ac:spMkLst>
        </pc:spChg>
        <pc:spChg chg="mod">
          <ac:chgData name="Schäfermeier, Bastian" userId="222eb8a9-5069-4046-88bd-a10549caffd0" providerId="ADAL" clId="{D1DCED53-C84F-4427-895D-0C9DFBD0DF2C}" dt="2024-09-12T09:13:06.903" v="2482" actId="1076"/>
          <ac:spMkLst>
            <pc:docMk/>
            <pc:sldMk cId="2179957879" sldId="400"/>
            <ac:spMk id="4" creationId="{E0F3DC97-5C7D-4704-8217-5EFA9C8E5B9F}"/>
          </ac:spMkLst>
        </pc:spChg>
        <pc:spChg chg="mod">
          <ac:chgData name="Schäfermeier, Bastian" userId="222eb8a9-5069-4046-88bd-a10549caffd0" providerId="ADAL" clId="{D1DCED53-C84F-4427-895D-0C9DFBD0DF2C}" dt="2024-09-17T15:04:25.041" v="4982" actId="20577"/>
          <ac:spMkLst>
            <pc:docMk/>
            <pc:sldMk cId="2179957879" sldId="400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2T09:13:06.903" v="2482" actId="1076"/>
          <ac:spMkLst>
            <pc:docMk/>
            <pc:sldMk cId="2179957879" sldId="400"/>
            <ac:spMk id="6" creationId="{D624CA59-376F-45D4-9C95-C1723C68473E}"/>
          </ac:spMkLst>
        </pc:spChg>
        <pc:spChg chg="mod">
          <ac:chgData name="Schäfermeier, Bastian" userId="222eb8a9-5069-4046-88bd-a10549caffd0" providerId="ADAL" clId="{D1DCED53-C84F-4427-895D-0C9DFBD0DF2C}" dt="2024-09-12T09:13:06.903" v="2482" actId="1076"/>
          <ac:spMkLst>
            <pc:docMk/>
            <pc:sldMk cId="2179957879" sldId="400"/>
            <ac:spMk id="7" creationId="{22464388-2ECA-4EEA-8E18-9F2C9F7BAE36}"/>
          </ac:spMkLst>
        </pc:spChg>
        <pc:spChg chg="mod">
          <ac:chgData name="Schäfermeier, Bastian" userId="222eb8a9-5069-4046-88bd-a10549caffd0" providerId="ADAL" clId="{D1DCED53-C84F-4427-895D-0C9DFBD0DF2C}" dt="2024-09-12T09:11:29.878" v="2429"/>
          <ac:spMkLst>
            <pc:docMk/>
            <pc:sldMk cId="2179957879" sldId="400"/>
            <ac:spMk id="10" creationId="{C53A95B1-FB97-C4A6-E0DE-8C6186F021C3}"/>
          </ac:spMkLst>
        </pc:spChg>
        <pc:spChg chg="add del mod">
          <ac:chgData name="Schäfermeier, Bastian" userId="222eb8a9-5069-4046-88bd-a10549caffd0" providerId="ADAL" clId="{D1DCED53-C84F-4427-895D-0C9DFBD0DF2C}" dt="2024-09-17T15:18:18.084" v="5587" actId="478"/>
          <ac:spMkLst>
            <pc:docMk/>
            <pc:sldMk cId="2179957879" sldId="400"/>
            <ac:spMk id="14" creationId="{4C0D215B-B7D9-FE8E-7094-18287B3BA030}"/>
          </ac:spMkLst>
        </pc:spChg>
        <pc:spChg chg="add mod">
          <ac:chgData name="Schäfermeier, Bastian" userId="222eb8a9-5069-4046-88bd-a10549caffd0" providerId="ADAL" clId="{D1DCED53-C84F-4427-895D-0C9DFBD0DF2C}" dt="2024-09-12T09:14:12.448" v="2499" actId="164"/>
          <ac:spMkLst>
            <pc:docMk/>
            <pc:sldMk cId="2179957879" sldId="400"/>
            <ac:spMk id="16" creationId="{323B83A3-7A6C-6BF5-AE46-F35FA860CA43}"/>
          </ac:spMkLst>
        </pc:spChg>
        <pc:spChg chg="add mod">
          <ac:chgData name="Schäfermeier, Bastian" userId="222eb8a9-5069-4046-88bd-a10549caffd0" providerId="ADAL" clId="{D1DCED53-C84F-4427-895D-0C9DFBD0DF2C}" dt="2024-09-17T15:18:19.119" v="5588"/>
          <ac:spMkLst>
            <pc:docMk/>
            <pc:sldMk cId="2179957879" sldId="400"/>
            <ac:spMk id="18" creationId="{C1908A82-98E8-B203-17F6-E25C9A75124E}"/>
          </ac:spMkLst>
        </pc:spChg>
        <pc:grpChg chg="add mod">
          <ac:chgData name="Schäfermeier, Bastian" userId="222eb8a9-5069-4046-88bd-a10549caffd0" providerId="ADAL" clId="{D1DCED53-C84F-4427-895D-0C9DFBD0DF2C}" dt="2024-09-12T09:14:12.448" v="2499" actId="164"/>
          <ac:grpSpMkLst>
            <pc:docMk/>
            <pc:sldMk cId="2179957879" sldId="400"/>
            <ac:grpSpMk id="2" creationId="{E43399DE-8BBA-A732-54E5-80B24D44DDF0}"/>
          </ac:grpSpMkLst>
        </pc:grpChg>
        <pc:grpChg chg="add mod">
          <ac:chgData name="Schäfermeier, Bastian" userId="222eb8a9-5069-4046-88bd-a10549caffd0" providerId="ADAL" clId="{D1DCED53-C84F-4427-895D-0C9DFBD0DF2C}" dt="2024-09-17T15:00:39.913" v="4829" actId="1076"/>
          <ac:grpSpMkLst>
            <pc:docMk/>
            <pc:sldMk cId="2179957879" sldId="400"/>
            <ac:grpSpMk id="17" creationId="{03A6D5F3-E459-B74E-4CE7-40959BF32477}"/>
          </ac:grpSpMkLst>
        </pc:grpChg>
        <pc:picChg chg="mod">
          <ac:chgData name="Schäfermeier, Bastian" userId="222eb8a9-5069-4046-88bd-a10549caffd0" providerId="ADAL" clId="{D1DCED53-C84F-4427-895D-0C9DFBD0DF2C}" dt="2024-09-12T09:11:29.878" v="2429"/>
          <ac:picMkLst>
            <pc:docMk/>
            <pc:sldMk cId="2179957879" sldId="400"/>
            <ac:picMk id="8" creationId="{711BB571-1C52-CF32-9A61-ADCE4E2BA0AA}"/>
          </ac:picMkLst>
        </pc:picChg>
        <pc:picChg chg="del mod">
          <ac:chgData name="Schäfermeier, Bastian" userId="222eb8a9-5069-4046-88bd-a10549caffd0" providerId="ADAL" clId="{D1DCED53-C84F-4427-895D-0C9DFBD0DF2C}" dt="2024-09-12T09:06:33.851" v="1992" actId="21"/>
          <ac:picMkLst>
            <pc:docMk/>
            <pc:sldMk cId="2179957879" sldId="400"/>
            <ac:picMk id="11" creationId="{91C5958B-E7FC-269B-0A65-976B2D6CCC68}"/>
          </ac:picMkLst>
        </pc:picChg>
        <pc:picChg chg="del">
          <ac:chgData name="Schäfermeier, Bastian" userId="222eb8a9-5069-4046-88bd-a10549caffd0" providerId="ADAL" clId="{D1DCED53-C84F-4427-895D-0C9DFBD0DF2C}" dt="2024-09-12T08:59:39.222" v="1590" actId="478"/>
          <ac:picMkLst>
            <pc:docMk/>
            <pc:sldMk cId="2179957879" sldId="400"/>
            <ac:picMk id="12" creationId="{B565962C-5916-D0DB-7CCF-211131E7A062}"/>
          </ac:picMkLst>
        </pc:picChg>
      </pc:sldChg>
      <pc:sldChg chg="addSp modSp add mod">
        <pc:chgData name="Schäfermeier, Bastian" userId="222eb8a9-5069-4046-88bd-a10549caffd0" providerId="ADAL" clId="{D1DCED53-C84F-4427-895D-0C9DFBD0DF2C}" dt="2024-09-17T14:50:55.474" v="4485" actId="1076"/>
        <pc:sldMkLst>
          <pc:docMk/>
          <pc:sldMk cId="3739830629" sldId="401"/>
        </pc:sldMkLst>
        <pc:spChg chg="mod">
          <ac:chgData name="Schäfermeier, Bastian" userId="222eb8a9-5069-4046-88bd-a10549caffd0" providerId="ADAL" clId="{D1DCED53-C84F-4427-895D-0C9DFBD0DF2C}" dt="2024-09-17T14:49:16.445" v="4484" actId="20577"/>
          <ac:spMkLst>
            <pc:docMk/>
            <pc:sldMk cId="3739830629" sldId="401"/>
            <ac:spMk id="5" creationId="{DBCE971E-BC53-5208-D0B0-346B7A5D6E36}"/>
          </ac:spMkLst>
        </pc:spChg>
        <pc:picChg chg="add mod">
          <ac:chgData name="Schäfermeier, Bastian" userId="222eb8a9-5069-4046-88bd-a10549caffd0" providerId="ADAL" clId="{D1DCED53-C84F-4427-895D-0C9DFBD0DF2C}" dt="2024-09-17T14:50:55.474" v="4485" actId="1076"/>
          <ac:picMkLst>
            <pc:docMk/>
            <pc:sldMk cId="3739830629" sldId="401"/>
            <ac:picMk id="8" creationId="{FFD21E97-34B5-EA32-9B6A-3F861021ED23}"/>
          </ac:picMkLst>
        </pc:picChg>
      </pc:sldChg>
      <pc:sldChg chg="addSp delSp modSp add mod">
        <pc:chgData name="Schäfermeier, Bastian" userId="222eb8a9-5069-4046-88bd-a10549caffd0" providerId="ADAL" clId="{D1DCED53-C84F-4427-895D-0C9DFBD0DF2C}" dt="2024-09-17T15:18:14.625" v="5586"/>
        <pc:sldMkLst>
          <pc:docMk/>
          <pc:sldMk cId="1891787569" sldId="402"/>
        </pc:sldMkLst>
        <pc:spChg chg="mod">
          <ac:chgData name="Schäfermeier, Bastian" userId="222eb8a9-5069-4046-88bd-a10549caffd0" providerId="ADAL" clId="{D1DCED53-C84F-4427-895D-0C9DFBD0DF2C}" dt="2024-09-17T15:10:46.584" v="5110" actId="20577"/>
          <ac:spMkLst>
            <pc:docMk/>
            <pc:sldMk cId="1891787569" sldId="402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7T15:10:39.864" v="5093" actId="20577"/>
          <ac:spMkLst>
            <pc:docMk/>
            <pc:sldMk cId="1891787569" sldId="402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D1DCED53-C84F-4427-895D-0C9DFBD0DF2C}" dt="2024-09-17T15:18:05.532" v="5583" actId="478"/>
          <ac:spMkLst>
            <pc:docMk/>
            <pc:sldMk cId="1891787569" sldId="402"/>
            <ac:spMk id="14" creationId="{4C0D215B-B7D9-FE8E-7094-18287B3BA030}"/>
          </ac:spMkLst>
        </pc:spChg>
        <pc:spChg chg="mod">
          <ac:chgData name="Schäfermeier, Bastian" userId="222eb8a9-5069-4046-88bd-a10549caffd0" providerId="ADAL" clId="{D1DCED53-C84F-4427-895D-0C9DFBD0DF2C}" dt="2024-09-17T15:04:54.760" v="4983"/>
          <ac:spMkLst>
            <pc:docMk/>
            <pc:sldMk cId="1891787569" sldId="402"/>
            <ac:spMk id="18" creationId="{2C834A02-BD5B-80A4-6B12-C20702B394BC}"/>
          </ac:spMkLst>
        </pc:spChg>
        <pc:spChg chg="mod">
          <ac:chgData name="Schäfermeier, Bastian" userId="222eb8a9-5069-4046-88bd-a10549caffd0" providerId="ADAL" clId="{D1DCED53-C84F-4427-895D-0C9DFBD0DF2C}" dt="2024-09-17T15:04:54.760" v="4983"/>
          <ac:spMkLst>
            <pc:docMk/>
            <pc:sldMk cId="1891787569" sldId="402"/>
            <ac:spMk id="20" creationId="{99451393-C907-09AE-0F63-778A8AD4135F}"/>
          </ac:spMkLst>
        </pc:spChg>
        <pc:spChg chg="add del">
          <ac:chgData name="Schäfermeier, Bastian" userId="222eb8a9-5069-4046-88bd-a10549caffd0" providerId="ADAL" clId="{D1DCED53-C84F-4427-895D-0C9DFBD0DF2C}" dt="2024-09-17T15:18:10.274" v="5585" actId="22"/>
          <ac:spMkLst>
            <pc:docMk/>
            <pc:sldMk cId="1891787569" sldId="402"/>
            <ac:spMk id="22" creationId="{B38FB3D7-97AD-03E1-5108-DA87345FC10A}"/>
          </ac:spMkLst>
        </pc:spChg>
        <pc:spChg chg="add mod">
          <ac:chgData name="Schäfermeier, Bastian" userId="222eb8a9-5069-4046-88bd-a10549caffd0" providerId="ADAL" clId="{D1DCED53-C84F-4427-895D-0C9DFBD0DF2C}" dt="2024-09-17T15:18:14.625" v="5586"/>
          <ac:spMkLst>
            <pc:docMk/>
            <pc:sldMk cId="1891787569" sldId="402"/>
            <ac:spMk id="23" creationId="{C9A54C60-6E06-1DE8-7B15-3A3951A253A7}"/>
          </ac:spMkLst>
        </pc:spChg>
        <pc:grpChg chg="add mod">
          <ac:chgData name="Schäfermeier, Bastian" userId="222eb8a9-5069-4046-88bd-a10549caffd0" providerId="ADAL" clId="{D1DCED53-C84F-4427-895D-0C9DFBD0DF2C}" dt="2024-09-17T15:04:54.760" v="4983"/>
          <ac:grpSpMkLst>
            <pc:docMk/>
            <pc:sldMk cId="1891787569" sldId="402"/>
            <ac:grpSpMk id="13" creationId="{0660CAE3-B5DA-9FD3-7C3C-C693513933AA}"/>
          </ac:grpSpMkLst>
        </pc:grpChg>
        <pc:grpChg chg="mod">
          <ac:chgData name="Schäfermeier, Bastian" userId="222eb8a9-5069-4046-88bd-a10549caffd0" providerId="ADAL" clId="{D1DCED53-C84F-4427-895D-0C9DFBD0DF2C}" dt="2024-09-17T15:04:54.760" v="4983"/>
          <ac:grpSpMkLst>
            <pc:docMk/>
            <pc:sldMk cId="1891787569" sldId="402"/>
            <ac:grpSpMk id="15" creationId="{90EA701F-712F-5752-A4D4-2A5D2699FC38}"/>
          </ac:grpSpMkLst>
        </pc:grpChg>
        <pc:grpChg chg="del">
          <ac:chgData name="Schäfermeier, Bastian" userId="222eb8a9-5069-4046-88bd-a10549caffd0" providerId="ADAL" clId="{D1DCED53-C84F-4427-895D-0C9DFBD0DF2C}" dt="2024-09-17T15:04:56.352" v="4984" actId="478"/>
          <ac:grpSpMkLst>
            <pc:docMk/>
            <pc:sldMk cId="1891787569" sldId="402"/>
            <ac:grpSpMk id="17" creationId="{03A6D5F3-E459-B74E-4CE7-40959BF32477}"/>
          </ac:grpSpMkLst>
        </pc:grpChg>
        <pc:picChg chg="add del mod">
          <ac:chgData name="Schäfermeier, Bastian" userId="222eb8a9-5069-4046-88bd-a10549caffd0" providerId="ADAL" clId="{D1DCED53-C84F-4427-895D-0C9DFBD0DF2C}" dt="2024-09-12T09:41:38.399" v="3164" actId="478"/>
          <ac:picMkLst>
            <pc:docMk/>
            <pc:sldMk cId="1891787569" sldId="402"/>
            <ac:picMk id="12" creationId="{C1FA9C86-B3E8-D471-6076-3B378C48015A}"/>
          </ac:picMkLst>
        </pc:picChg>
        <pc:picChg chg="mod">
          <ac:chgData name="Schäfermeier, Bastian" userId="222eb8a9-5069-4046-88bd-a10549caffd0" providerId="ADAL" clId="{D1DCED53-C84F-4427-895D-0C9DFBD0DF2C}" dt="2024-09-17T15:04:54.760" v="4983"/>
          <ac:picMkLst>
            <pc:docMk/>
            <pc:sldMk cId="1891787569" sldId="402"/>
            <ac:picMk id="19" creationId="{997CB70D-185E-D2CD-4DC9-2018722A38CD}"/>
          </ac:picMkLst>
        </pc:picChg>
      </pc:sldChg>
      <pc:sldChg chg="addSp delSp modSp add mod">
        <pc:chgData name="Schäfermeier, Bastian" userId="222eb8a9-5069-4046-88bd-a10549caffd0" providerId="ADAL" clId="{D1DCED53-C84F-4427-895D-0C9DFBD0DF2C}" dt="2024-09-17T15:14:35.733" v="5484" actId="20577"/>
        <pc:sldMkLst>
          <pc:docMk/>
          <pc:sldMk cId="2479315138" sldId="403"/>
        </pc:sldMkLst>
        <pc:spChg chg="mod">
          <ac:chgData name="Schäfermeier, Bastian" userId="222eb8a9-5069-4046-88bd-a10549caffd0" providerId="ADAL" clId="{D1DCED53-C84F-4427-895D-0C9DFBD0DF2C}" dt="2024-09-17T15:14:35.733" v="5484" actId="20577"/>
          <ac:spMkLst>
            <pc:docMk/>
            <pc:sldMk cId="2479315138" sldId="403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7T15:06:53.497" v="5060" actId="20577"/>
          <ac:spMkLst>
            <pc:docMk/>
            <pc:sldMk cId="2479315138" sldId="403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D1DCED53-C84F-4427-895D-0C9DFBD0DF2C}" dt="2024-09-12T09:39:42.656" v="3152" actId="478"/>
          <ac:spMkLst>
            <pc:docMk/>
            <pc:sldMk cId="2479315138" sldId="403"/>
            <ac:spMk id="14" creationId="{4C0D215B-B7D9-FE8E-7094-18287B3BA030}"/>
          </ac:spMkLst>
        </pc:spChg>
        <pc:grpChg chg="del">
          <ac:chgData name="Schäfermeier, Bastian" userId="222eb8a9-5069-4046-88bd-a10549caffd0" providerId="ADAL" clId="{D1DCED53-C84F-4427-895D-0C9DFBD0DF2C}" dt="2024-09-12T09:39:38.657" v="3149" actId="478"/>
          <ac:grpSpMkLst>
            <pc:docMk/>
            <pc:sldMk cId="2479315138" sldId="403"/>
            <ac:grpSpMk id="17" creationId="{03A6D5F3-E459-B74E-4CE7-40959BF32477}"/>
          </ac:grpSpMkLst>
        </pc:grpChg>
        <pc:picChg chg="add del mod">
          <ac:chgData name="Schäfermeier, Bastian" userId="222eb8a9-5069-4046-88bd-a10549caffd0" providerId="ADAL" clId="{D1DCED53-C84F-4427-895D-0C9DFBD0DF2C}" dt="2024-09-17T15:06:42.850" v="5043" actId="1076"/>
          <ac:picMkLst>
            <pc:docMk/>
            <pc:sldMk cId="2479315138" sldId="403"/>
            <ac:picMk id="12" creationId="{C1FA9C86-B3E8-D471-6076-3B378C48015A}"/>
          </ac:picMkLst>
        </pc:picChg>
        <pc:picChg chg="add mod">
          <ac:chgData name="Schäfermeier, Bastian" userId="222eb8a9-5069-4046-88bd-a10549caffd0" providerId="ADAL" clId="{D1DCED53-C84F-4427-895D-0C9DFBD0DF2C}" dt="2024-09-17T14:30:11.987" v="3928" actId="1076"/>
          <ac:picMkLst>
            <pc:docMk/>
            <pc:sldMk cId="2479315138" sldId="403"/>
            <ac:picMk id="13" creationId="{8A7536A0-21FF-48CA-2C5E-3C3A1683F965}"/>
          </ac:picMkLst>
        </pc:picChg>
      </pc:sldChg>
      <pc:sldChg chg="delSp modSp add del mod">
        <pc:chgData name="Schäfermeier, Bastian" userId="222eb8a9-5069-4046-88bd-a10549caffd0" providerId="ADAL" clId="{D1DCED53-C84F-4427-895D-0C9DFBD0DF2C}" dt="2024-09-17T15:03:14.156" v="4941" actId="47"/>
        <pc:sldMkLst>
          <pc:docMk/>
          <pc:sldMk cId="2728329536" sldId="404"/>
        </pc:sldMkLst>
        <pc:spChg chg="mod">
          <ac:chgData name="Schäfermeier, Bastian" userId="222eb8a9-5069-4046-88bd-a10549caffd0" providerId="ADAL" clId="{D1DCED53-C84F-4427-895D-0C9DFBD0DF2C}" dt="2024-09-17T14:26:39.474" v="3854" actId="20577"/>
          <ac:spMkLst>
            <pc:docMk/>
            <pc:sldMk cId="2728329536" sldId="404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D1DCED53-C84F-4427-895D-0C9DFBD0DF2C}" dt="2024-09-17T14:26:52.895" v="3855" actId="478"/>
          <ac:spMkLst>
            <pc:docMk/>
            <pc:sldMk cId="2728329536" sldId="404"/>
            <ac:spMk id="14" creationId="{4C0D215B-B7D9-FE8E-7094-18287B3BA030}"/>
          </ac:spMkLst>
        </pc:spChg>
      </pc:sldChg>
      <pc:sldChg chg="addSp modSp add mod ord">
        <pc:chgData name="Schäfermeier, Bastian" userId="222eb8a9-5069-4046-88bd-a10549caffd0" providerId="ADAL" clId="{D1DCED53-C84F-4427-895D-0C9DFBD0DF2C}" dt="2024-09-17T14:41:21.335" v="4055" actId="1076"/>
        <pc:sldMkLst>
          <pc:docMk/>
          <pc:sldMk cId="2099747231" sldId="405"/>
        </pc:sldMkLst>
        <pc:spChg chg="mod">
          <ac:chgData name="Schäfermeier, Bastian" userId="222eb8a9-5069-4046-88bd-a10549caffd0" providerId="ADAL" clId="{D1DCED53-C84F-4427-895D-0C9DFBD0DF2C}" dt="2024-09-17T14:38:40.657" v="4025" actId="20577"/>
          <ac:spMkLst>
            <pc:docMk/>
            <pc:sldMk cId="2099747231" sldId="405"/>
            <ac:spMk id="5" creationId="{DBCE971E-BC53-5208-D0B0-346B7A5D6E36}"/>
          </ac:spMkLst>
        </pc:spChg>
        <pc:spChg chg="add mod">
          <ac:chgData name="Schäfermeier, Bastian" userId="222eb8a9-5069-4046-88bd-a10549caffd0" providerId="ADAL" clId="{D1DCED53-C84F-4427-895D-0C9DFBD0DF2C}" dt="2024-09-17T14:41:17.268" v="4054" actId="1076"/>
          <ac:spMkLst>
            <pc:docMk/>
            <pc:sldMk cId="2099747231" sldId="405"/>
            <ac:spMk id="17" creationId="{B8F4F170-7D07-97AF-C190-5CB3F35FBF81}"/>
          </ac:spMkLst>
        </pc:spChg>
        <pc:picChg chg="add mod">
          <ac:chgData name="Schäfermeier, Bastian" userId="222eb8a9-5069-4046-88bd-a10549caffd0" providerId="ADAL" clId="{D1DCED53-C84F-4427-895D-0C9DFBD0DF2C}" dt="2024-09-17T14:41:17.268" v="4054" actId="1076"/>
          <ac:picMkLst>
            <pc:docMk/>
            <pc:sldMk cId="2099747231" sldId="405"/>
            <ac:picMk id="8" creationId="{4AEF89D0-4853-A605-B614-1898C31B3427}"/>
          </ac:picMkLst>
        </pc:picChg>
        <pc:picChg chg="add mod">
          <ac:chgData name="Schäfermeier, Bastian" userId="222eb8a9-5069-4046-88bd-a10549caffd0" providerId="ADAL" clId="{D1DCED53-C84F-4427-895D-0C9DFBD0DF2C}" dt="2024-09-17T14:41:17.268" v="4054" actId="1076"/>
          <ac:picMkLst>
            <pc:docMk/>
            <pc:sldMk cId="2099747231" sldId="405"/>
            <ac:picMk id="10" creationId="{851DB79D-8C4B-9C08-6C44-9A464A03D41B}"/>
          </ac:picMkLst>
        </pc:picChg>
        <pc:picChg chg="add mod">
          <ac:chgData name="Schäfermeier, Bastian" userId="222eb8a9-5069-4046-88bd-a10549caffd0" providerId="ADAL" clId="{D1DCED53-C84F-4427-895D-0C9DFBD0DF2C}" dt="2024-09-17T14:41:17.268" v="4054" actId="1076"/>
          <ac:picMkLst>
            <pc:docMk/>
            <pc:sldMk cId="2099747231" sldId="405"/>
            <ac:picMk id="11" creationId="{289F71DB-29EC-42B2-BA8F-E94BB56F7F9D}"/>
          </ac:picMkLst>
        </pc:picChg>
        <pc:picChg chg="add mod">
          <ac:chgData name="Schäfermeier, Bastian" userId="222eb8a9-5069-4046-88bd-a10549caffd0" providerId="ADAL" clId="{D1DCED53-C84F-4427-895D-0C9DFBD0DF2C}" dt="2024-09-17T14:41:17.268" v="4054" actId="1076"/>
          <ac:picMkLst>
            <pc:docMk/>
            <pc:sldMk cId="2099747231" sldId="405"/>
            <ac:picMk id="14" creationId="{F9A1868A-E23B-0391-446E-F80ABFC6A1E1}"/>
          </ac:picMkLst>
        </pc:picChg>
        <pc:picChg chg="add mod">
          <ac:chgData name="Schäfermeier, Bastian" userId="222eb8a9-5069-4046-88bd-a10549caffd0" providerId="ADAL" clId="{D1DCED53-C84F-4427-895D-0C9DFBD0DF2C}" dt="2024-09-17T14:41:21.335" v="4055" actId="1076"/>
          <ac:picMkLst>
            <pc:docMk/>
            <pc:sldMk cId="2099747231" sldId="405"/>
            <ac:picMk id="16" creationId="{DAE0953D-FE5E-5F17-C187-4BB4A2516271}"/>
          </ac:picMkLst>
        </pc:picChg>
      </pc:sldChg>
      <pc:sldChg chg="delSp modSp add mod">
        <pc:chgData name="Schäfermeier, Bastian" userId="222eb8a9-5069-4046-88bd-a10549caffd0" providerId="ADAL" clId="{D1DCED53-C84F-4427-895D-0C9DFBD0DF2C}" dt="2024-09-17T15:08:30.331" v="5078" actId="20577"/>
        <pc:sldMkLst>
          <pc:docMk/>
          <pc:sldMk cId="3713928018" sldId="406"/>
        </pc:sldMkLst>
        <pc:spChg chg="mod">
          <ac:chgData name="Schäfermeier, Bastian" userId="222eb8a9-5069-4046-88bd-a10549caffd0" providerId="ADAL" clId="{D1DCED53-C84F-4427-895D-0C9DFBD0DF2C}" dt="2024-09-17T15:08:30.331" v="5078" actId="20577"/>
          <ac:spMkLst>
            <pc:docMk/>
            <pc:sldMk cId="3713928018" sldId="406"/>
            <ac:spMk id="5" creationId="{DBCE971E-BC53-5208-D0B0-346B7A5D6E36}"/>
          </ac:spMkLst>
        </pc:spChg>
        <pc:picChg chg="del">
          <ac:chgData name="Schäfermeier, Bastian" userId="222eb8a9-5069-4046-88bd-a10549caffd0" providerId="ADAL" clId="{D1DCED53-C84F-4427-895D-0C9DFBD0DF2C}" dt="2024-09-17T14:56:41.902" v="4718" actId="478"/>
          <ac:picMkLst>
            <pc:docMk/>
            <pc:sldMk cId="3713928018" sldId="406"/>
            <ac:picMk id="12" creationId="{B565962C-5916-D0DB-7CCF-211131E7A062}"/>
          </ac:picMkLst>
        </pc:picChg>
        <pc:picChg chg="mod">
          <ac:chgData name="Schäfermeier, Bastian" userId="222eb8a9-5069-4046-88bd-a10549caffd0" providerId="ADAL" clId="{D1DCED53-C84F-4427-895D-0C9DFBD0DF2C}" dt="2024-09-17T14:57:15.967" v="4788" actId="1076"/>
          <ac:picMkLst>
            <pc:docMk/>
            <pc:sldMk cId="3713928018" sldId="406"/>
            <ac:picMk id="13" creationId="{91C5958B-E7FC-269B-0A65-976B2D6CCC68}"/>
          </ac:picMkLst>
        </pc:picChg>
        <pc:picChg chg="mod">
          <ac:chgData name="Schäfermeier, Bastian" userId="222eb8a9-5069-4046-88bd-a10549caffd0" providerId="ADAL" clId="{D1DCED53-C84F-4427-895D-0C9DFBD0DF2C}" dt="2024-09-17T15:00:30.398" v="4827" actId="14100"/>
          <ac:picMkLst>
            <pc:docMk/>
            <pc:sldMk cId="3713928018" sldId="406"/>
            <ac:picMk id="15" creationId="{ABE3B50D-218F-095E-D905-671155B99249}"/>
          </ac:picMkLst>
        </pc:picChg>
      </pc:sldChg>
      <pc:sldChg chg="modSp add mod">
        <pc:chgData name="Schäfermeier, Bastian" userId="222eb8a9-5069-4046-88bd-a10549caffd0" providerId="ADAL" clId="{D1DCED53-C84F-4427-895D-0C9DFBD0DF2C}" dt="2024-09-17T15:18:32.784" v="5589" actId="20577"/>
        <pc:sldMkLst>
          <pc:docMk/>
          <pc:sldMk cId="2793162533" sldId="407"/>
        </pc:sldMkLst>
        <pc:spChg chg="mod">
          <ac:chgData name="Schäfermeier, Bastian" userId="222eb8a9-5069-4046-88bd-a10549caffd0" providerId="ADAL" clId="{D1DCED53-C84F-4427-895D-0C9DFBD0DF2C}" dt="2024-09-17T15:18:32.784" v="5589" actId="20577"/>
          <ac:spMkLst>
            <pc:docMk/>
            <pc:sldMk cId="2793162533" sldId="407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D1DCED53-C84F-4427-895D-0C9DFBD0DF2C}" dt="2024-09-17T15:17:55.858" v="5582" actId="14100"/>
          <ac:spMkLst>
            <pc:docMk/>
            <pc:sldMk cId="2793162533" sldId="407"/>
            <ac:spMk id="14" creationId="{4C0D215B-B7D9-FE8E-7094-18287B3BA030}"/>
          </ac:spMkLst>
        </pc:spChg>
      </pc:sldChg>
    </pc:docChg>
  </pc:docChgLst>
  <pc:docChgLst>
    <pc:chgData name="Schäfermeier, Bastian" userId="222eb8a9-5069-4046-88bd-a10549caffd0" providerId="ADAL" clId="{CD807069-DDAC-457A-97A7-358692896444}"/>
    <pc:docChg chg="undo custSel addSld delSld modSld sldOrd modSection">
      <pc:chgData name="Schäfermeier, Bastian" userId="222eb8a9-5069-4046-88bd-a10549caffd0" providerId="ADAL" clId="{CD807069-DDAC-457A-97A7-358692896444}" dt="2023-07-17T15:18:31.897" v="12629" actId="47"/>
      <pc:docMkLst>
        <pc:docMk/>
      </pc:docMkLst>
      <pc:sldChg chg="del">
        <pc:chgData name="Schäfermeier, Bastian" userId="222eb8a9-5069-4046-88bd-a10549caffd0" providerId="ADAL" clId="{CD807069-DDAC-457A-97A7-358692896444}" dt="2023-06-28T13:58:34.565" v="4956" actId="47"/>
        <pc:sldMkLst>
          <pc:docMk/>
          <pc:sldMk cId="3631954091" sldId="284"/>
        </pc:sldMkLst>
      </pc:sldChg>
      <pc:sldChg chg="modSp del mod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376898283" sldId="317"/>
        </pc:sldMkLst>
        <pc:spChg chg="mod">
          <ac:chgData name="Schäfermeier, Bastian" userId="222eb8a9-5069-4046-88bd-a10549caffd0" providerId="ADAL" clId="{CD807069-DDAC-457A-97A7-358692896444}" dt="2023-06-28T17:04:04.699" v="7255" actId="20577"/>
          <ac:spMkLst>
            <pc:docMk/>
            <pc:sldMk cId="1376898283" sldId="317"/>
            <ac:spMk id="3" creationId="{2969FAB3-F139-4D43-A7C4-4D804D9FD135}"/>
          </ac:spMkLst>
        </pc:spChg>
      </pc:sldChg>
      <pc:sldChg chg="del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2388169513" sldId="334"/>
        </pc:sldMkLst>
      </pc:sldChg>
      <pc:sldChg chg="del">
        <pc:chgData name="Schäfermeier, Bastian" userId="222eb8a9-5069-4046-88bd-a10549caffd0" providerId="ADAL" clId="{CD807069-DDAC-457A-97A7-358692896444}" dt="2023-06-28T13:58:34.565" v="4956" actId="47"/>
        <pc:sldMkLst>
          <pc:docMk/>
          <pc:sldMk cId="1459503377" sldId="336"/>
        </pc:sldMkLst>
      </pc:sldChg>
      <pc:sldChg chg="del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403841904" sldId="342"/>
        </pc:sldMkLst>
      </pc:sldChg>
      <pc:sldChg chg="addSp delSp modSp mod ord">
        <pc:chgData name="Schäfermeier, Bastian" userId="222eb8a9-5069-4046-88bd-a10549caffd0" providerId="ADAL" clId="{CD807069-DDAC-457A-97A7-358692896444}" dt="2023-07-11T15:04:28.381" v="8415" actId="20577"/>
        <pc:sldMkLst>
          <pc:docMk/>
          <pc:sldMk cId="3005863" sldId="343"/>
        </pc:sldMkLst>
        <pc:spChg chg="mod">
          <ac:chgData name="Schäfermeier, Bastian" userId="222eb8a9-5069-4046-88bd-a10549caffd0" providerId="ADAL" clId="{CD807069-DDAC-457A-97A7-358692896444}" dt="2023-06-28T13:41:39.551" v="4885" actId="20577"/>
          <ac:spMkLst>
            <pc:docMk/>
            <pc:sldMk cId="3005863" sldId="343"/>
            <ac:spMk id="2" creationId="{2532A74A-862F-43E8-8CCB-8B656C628020}"/>
          </ac:spMkLst>
        </pc:spChg>
        <pc:spChg chg="mod">
          <ac:chgData name="Schäfermeier, Bastian" userId="222eb8a9-5069-4046-88bd-a10549caffd0" providerId="ADAL" clId="{CD807069-DDAC-457A-97A7-358692896444}" dt="2023-07-11T15:04:28.381" v="8415" actId="20577"/>
          <ac:spMkLst>
            <pc:docMk/>
            <pc:sldMk cId="3005863" sldId="343"/>
            <ac:spMk id="6" creationId="{9BC83BAB-46CE-4628-8727-46DA985AFA7C}"/>
          </ac:spMkLst>
        </pc:spChg>
        <pc:spChg chg="add mod">
          <ac:chgData name="Schäfermeier, Bastian" userId="222eb8a9-5069-4046-88bd-a10549caffd0" providerId="ADAL" clId="{CD807069-DDAC-457A-97A7-358692896444}" dt="2023-06-28T14:49:44.061" v="5628" actId="1076"/>
          <ac:spMkLst>
            <pc:docMk/>
            <pc:sldMk cId="3005863" sldId="343"/>
            <ac:spMk id="12" creationId="{4159B239-766F-FA6F-1421-C7580EBF1230}"/>
          </ac:spMkLst>
        </pc:spChg>
        <pc:spChg chg="mod">
          <ac:chgData name="Schäfermeier, Bastian" userId="222eb8a9-5069-4046-88bd-a10549caffd0" providerId="ADAL" clId="{CD807069-DDAC-457A-97A7-358692896444}" dt="2023-06-28T13:56:50.273" v="4903" actId="20577"/>
          <ac:spMkLst>
            <pc:docMk/>
            <pc:sldMk cId="3005863" sldId="343"/>
            <ac:spMk id="16" creationId="{2FFC3EC6-26F1-42B0-ABBD-A3A9A3695309}"/>
          </ac:spMkLst>
        </pc:spChg>
        <pc:spChg chg="del">
          <ac:chgData name="Schäfermeier, Bastian" userId="222eb8a9-5069-4046-88bd-a10549caffd0" providerId="ADAL" clId="{CD807069-DDAC-457A-97A7-358692896444}" dt="2023-06-21T11:15:34.773" v="25" actId="478"/>
          <ac:spMkLst>
            <pc:docMk/>
            <pc:sldMk cId="3005863" sldId="343"/>
            <ac:spMk id="17" creationId="{6631B631-A3BD-445B-8768-F3CCD4646866}"/>
          </ac:spMkLst>
        </pc:spChg>
        <pc:picChg chg="add mod">
          <ac:chgData name="Schäfermeier, Bastian" userId="222eb8a9-5069-4046-88bd-a10549caffd0" providerId="ADAL" clId="{CD807069-DDAC-457A-97A7-358692896444}" dt="2023-06-28T14:49:10.379" v="5613" actId="1076"/>
          <ac:picMkLst>
            <pc:docMk/>
            <pc:sldMk cId="3005863" sldId="343"/>
            <ac:picMk id="9" creationId="{3F3966CE-E87B-CD15-C4D4-D8912883D47E}"/>
          </ac:picMkLst>
        </pc:picChg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2939190206" sldId="344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267079188" sldId="345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541199244" sldId="346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68823673" sldId="347"/>
        </pc:sldMkLst>
      </pc:sldChg>
      <pc:sldChg chg="del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930139473" sldId="348"/>
        </pc:sldMkLst>
      </pc:sldChg>
      <pc:sldChg chg="modSp del mo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3441394408" sldId="349"/>
        </pc:sldMkLst>
        <pc:grpChg chg="mod">
          <ac:chgData name="Schäfermeier, Bastian" userId="222eb8a9-5069-4046-88bd-a10549caffd0" providerId="ADAL" clId="{CD807069-DDAC-457A-97A7-358692896444}" dt="2023-06-21T13:36:02.087" v="2883" actId="1076"/>
          <ac:grpSpMkLst>
            <pc:docMk/>
            <pc:sldMk cId="3441394408" sldId="349"/>
            <ac:grpSpMk id="137" creationId="{76193D15-3C5B-490F-9597-1F42EC6CFB91}"/>
          </ac:grpSpMkLst>
        </pc:grpChg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428162392" sldId="350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835276420" sldId="351"/>
        </pc:sldMkLst>
      </pc:sldChg>
      <pc:sldChg chg="del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691910478" sldId="352"/>
        </pc:sldMkLst>
      </pc:sldChg>
      <pc:sldChg chg="modSp del mo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077157576" sldId="354"/>
        </pc:sldMkLst>
        <pc:spChg chg="mod">
          <ac:chgData name="Schäfermeier, Bastian" userId="222eb8a9-5069-4046-88bd-a10549caffd0" providerId="ADAL" clId="{CD807069-DDAC-457A-97A7-358692896444}" dt="2023-06-28T09:43:51.371" v="3389"/>
          <ac:spMkLst>
            <pc:docMk/>
            <pc:sldMk cId="1077157576" sldId="354"/>
            <ac:spMk id="5" creationId="{00000000-0000-0000-0000-000000000000}"/>
          </ac:spMkLst>
        </pc:spChg>
      </pc:sldChg>
      <pc:sldChg chg="modSp mod">
        <pc:chgData name="Schäfermeier, Bastian" userId="222eb8a9-5069-4046-88bd-a10549caffd0" providerId="ADAL" clId="{CD807069-DDAC-457A-97A7-358692896444}" dt="2023-06-28T14:06:41.538" v="5182" actId="20577"/>
        <pc:sldMkLst>
          <pc:docMk/>
          <pc:sldMk cId="3162220561" sldId="355"/>
        </pc:sldMkLst>
        <pc:spChg chg="mod">
          <ac:chgData name="Schäfermeier, Bastian" userId="222eb8a9-5069-4046-88bd-a10549caffd0" providerId="ADAL" clId="{CD807069-DDAC-457A-97A7-358692896444}" dt="2023-06-28T14:06:41.538" v="5182" actId="20577"/>
          <ac:spMkLst>
            <pc:docMk/>
            <pc:sldMk cId="3162220561" sldId="355"/>
            <ac:spMk id="5" creationId="{74E97DF8-C1D4-4738-8989-E78F9E0E9897}"/>
          </ac:spMkLst>
        </pc:spChg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4035620310" sldId="356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3258293902" sldId="357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3976648339" sldId="358"/>
        </pc:sldMkLst>
      </pc:sldChg>
      <pc:sldChg chg="del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2363699310" sldId="359"/>
        </pc:sldMkLst>
      </pc:sldChg>
      <pc:sldChg chg="delSp add del mo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1709925643" sldId="360"/>
        </pc:sldMkLst>
        <pc:picChg chg="del">
          <ac:chgData name="Schäfermeier, Bastian" userId="222eb8a9-5069-4046-88bd-a10549caffd0" providerId="ADAL" clId="{CD807069-DDAC-457A-97A7-358692896444}" dt="2023-06-21T11:15:30.383" v="24" actId="478"/>
          <ac:picMkLst>
            <pc:docMk/>
            <pc:sldMk cId="1709925643" sldId="360"/>
            <ac:picMk id="9" creationId="{3F3966CE-E87B-CD15-C4D4-D8912883D47E}"/>
          </ac:picMkLst>
        </pc:picChg>
      </pc:sldChg>
      <pc:sldChg chg="modSp add del mod ord modShow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3152668594" sldId="361"/>
        </pc:sldMkLst>
        <pc:spChg chg="mod">
          <ac:chgData name="Schäfermeier, Bastian" userId="222eb8a9-5069-4046-88bd-a10549caffd0" providerId="ADAL" clId="{CD807069-DDAC-457A-97A7-358692896444}" dt="2023-06-28T13:56:57.632" v="4926" actId="20577"/>
          <ac:spMkLst>
            <pc:docMk/>
            <pc:sldMk cId="3152668594" sldId="361"/>
            <ac:spMk id="6" creationId="{02D30EA6-6A0D-4DCF-A9F5-CF8AACAD2F7C}"/>
          </ac:spMkLst>
        </pc:spChg>
        <pc:spChg chg="mod">
          <ac:chgData name="Schäfermeier, Bastian" userId="222eb8a9-5069-4046-88bd-a10549caffd0" providerId="ADAL" clId="{CD807069-DDAC-457A-97A7-358692896444}" dt="2023-06-28T13:57:04.047" v="4950" actId="20577"/>
          <ac:spMkLst>
            <pc:docMk/>
            <pc:sldMk cId="3152668594" sldId="361"/>
            <ac:spMk id="10" creationId="{43BE6F76-3365-4F44-ABBB-7AD97EB002A1}"/>
          </ac:spMkLst>
        </pc:spChg>
        <pc:spChg chg="mod">
          <ac:chgData name="Schäfermeier, Bastian" userId="222eb8a9-5069-4046-88bd-a10549caffd0" providerId="ADAL" clId="{CD807069-DDAC-457A-97A7-358692896444}" dt="2023-06-28T07:24:09.257" v="3065" actId="20577"/>
          <ac:spMkLst>
            <pc:docMk/>
            <pc:sldMk cId="3152668594" sldId="361"/>
            <ac:spMk id="15" creationId="{3035E07D-BEDB-4868-90E8-8DDA073DAF69}"/>
          </ac:spMkLst>
        </pc:spChg>
        <pc:spChg chg="mod">
          <ac:chgData name="Schäfermeier, Bastian" userId="222eb8a9-5069-4046-88bd-a10549caffd0" providerId="ADAL" clId="{CD807069-DDAC-457A-97A7-358692896444}" dt="2023-06-21T13:48:58.302" v="3040" actId="20577"/>
          <ac:spMkLst>
            <pc:docMk/>
            <pc:sldMk cId="3152668594" sldId="361"/>
            <ac:spMk id="25" creationId="{D0CE8094-0E1D-4FC9-9B8A-D494EAF90C65}"/>
          </ac:spMkLst>
        </pc:spChg>
      </pc:sldChg>
      <pc:sldChg chg="addSp delSp modSp add del mod">
        <pc:chgData name="Schäfermeier, Bastian" userId="222eb8a9-5069-4046-88bd-a10549caffd0" providerId="ADAL" clId="{CD807069-DDAC-457A-97A7-358692896444}" dt="2023-06-28T13:57:34.119" v="4951" actId="47"/>
        <pc:sldMkLst>
          <pc:docMk/>
          <pc:sldMk cId="732552518" sldId="362"/>
        </pc:sldMkLst>
        <pc:spChg chg="add del mod">
          <ac:chgData name="Schäfermeier, Bastian" userId="222eb8a9-5069-4046-88bd-a10549caffd0" providerId="ADAL" clId="{CD807069-DDAC-457A-97A7-358692896444}" dt="2023-06-28T12:23:32.732" v="4029" actId="478"/>
          <ac:spMkLst>
            <pc:docMk/>
            <pc:sldMk cId="732552518" sldId="362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CD807069-DDAC-457A-97A7-358692896444}" dt="2023-06-28T12:37:26.787" v="4272" actId="1076"/>
          <ac:spMkLst>
            <pc:docMk/>
            <pc:sldMk cId="732552518" sldId="362"/>
            <ac:spMk id="3" creationId="{F43F35B2-4B13-4AA9-BABC-6AC2B3B16BB7}"/>
          </ac:spMkLst>
        </pc:spChg>
        <pc:spChg chg="mod">
          <ac:chgData name="Schäfermeier, Bastian" userId="222eb8a9-5069-4046-88bd-a10549caffd0" providerId="ADAL" clId="{CD807069-DDAC-457A-97A7-358692896444}" dt="2023-06-28T12:37:26.787" v="4272" actId="1076"/>
          <ac:spMkLst>
            <pc:docMk/>
            <pc:sldMk cId="732552518" sldId="362"/>
            <ac:spMk id="4" creationId="{E0F3DC97-5C7D-4704-8217-5EFA9C8E5B9F}"/>
          </ac:spMkLst>
        </pc:spChg>
        <pc:spChg chg="add del">
          <ac:chgData name="Schäfermeier, Bastian" userId="222eb8a9-5069-4046-88bd-a10549caffd0" providerId="ADAL" clId="{CD807069-DDAC-457A-97A7-358692896444}" dt="2023-06-21T12:51:39.065" v="2244"/>
          <ac:spMkLst>
            <pc:docMk/>
            <pc:sldMk cId="732552518" sldId="362"/>
            <ac:spMk id="5" creationId="{7B70DA84-8CE9-FF46-EEDC-F32107B2C733}"/>
          </ac:spMkLst>
        </pc:spChg>
        <pc:spChg chg="mod">
          <ac:chgData name="Schäfermeier, Bastian" userId="222eb8a9-5069-4046-88bd-a10549caffd0" providerId="ADAL" clId="{CD807069-DDAC-457A-97A7-358692896444}" dt="2023-06-28T12:18:27.459" v="3918" actId="1076"/>
          <ac:spMkLst>
            <pc:docMk/>
            <pc:sldMk cId="732552518" sldId="362"/>
            <ac:spMk id="6" creationId="{D624CA59-376F-45D4-9C95-C1723C68473E}"/>
          </ac:spMkLst>
        </pc:spChg>
        <pc:spChg chg="mod">
          <ac:chgData name="Schäfermeier, Bastian" userId="222eb8a9-5069-4046-88bd-a10549caffd0" providerId="ADAL" clId="{CD807069-DDAC-457A-97A7-358692896444}" dt="2023-06-28T12:18:58.662" v="3935" actId="20577"/>
          <ac:spMkLst>
            <pc:docMk/>
            <pc:sldMk cId="732552518" sldId="362"/>
            <ac:spMk id="7" creationId="{22464388-2ECA-4EEA-8E18-9F2C9F7BAE36}"/>
          </ac:spMkLst>
        </pc:spChg>
        <pc:spChg chg="add del">
          <ac:chgData name="Schäfermeier, Bastian" userId="222eb8a9-5069-4046-88bd-a10549caffd0" providerId="ADAL" clId="{CD807069-DDAC-457A-97A7-358692896444}" dt="2023-06-21T12:51:43.656" v="2248"/>
          <ac:spMkLst>
            <pc:docMk/>
            <pc:sldMk cId="732552518" sldId="362"/>
            <ac:spMk id="8" creationId="{51862DF1-FB05-FEDB-1491-737EC680BF21}"/>
          </ac:spMkLst>
        </pc:spChg>
        <pc:spChg chg="add del mod">
          <ac:chgData name="Schäfermeier, Bastian" userId="222eb8a9-5069-4046-88bd-a10549caffd0" providerId="ADAL" clId="{CD807069-DDAC-457A-97A7-358692896444}" dt="2023-06-21T12:52:17.217" v="2254"/>
          <ac:spMkLst>
            <pc:docMk/>
            <pc:sldMk cId="732552518" sldId="362"/>
            <ac:spMk id="10" creationId="{DA47310D-E338-4F70-CAE2-FA0C3C790ED9}"/>
          </ac:spMkLst>
        </pc:spChg>
        <pc:spChg chg="add del mod">
          <ac:chgData name="Schäfermeier, Bastian" userId="222eb8a9-5069-4046-88bd-a10549caffd0" providerId="ADAL" clId="{CD807069-DDAC-457A-97A7-358692896444}" dt="2023-06-21T12:53:18.129" v="2258" actId="478"/>
          <ac:spMkLst>
            <pc:docMk/>
            <pc:sldMk cId="732552518" sldId="362"/>
            <ac:spMk id="11" creationId="{CEFB04AF-133B-EBA9-485F-6CE7B4495243}"/>
          </ac:spMkLst>
        </pc:spChg>
        <pc:spChg chg="add del mod">
          <ac:chgData name="Schäfermeier, Bastian" userId="222eb8a9-5069-4046-88bd-a10549caffd0" providerId="ADAL" clId="{CD807069-DDAC-457A-97A7-358692896444}" dt="2023-06-28T07:37:37.801" v="3139" actId="478"/>
          <ac:spMkLst>
            <pc:docMk/>
            <pc:sldMk cId="732552518" sldId="362"/>
            <ac:spMk id="12" creationId="{1D2C5EAF-062B-0A90-F65C-9CED0F17A6EF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13" creationId="{000114BA-C51D-DF92-63E9-463F201F4738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14" creationId="{4F656FE6-04FD-F6B6-0A96-C6170AC4F388}"/>
          </ac:spMkLst>
        </pc:spChg>
        <pc:spChg chg="mod">
          <ac:chgData name="Schäfermeier, Bastian" userId="222eb8a9-5069-4046-88bd-a10549caffd0" providerId="ADAL" clId="{CD807069-DDAC-457A-97A7-358692896444}" dt="2023-06-28T12:24:16.210" v="4070" actId="20577"/>
          <ac:spMkLst>
            <pc:docMk/>
            <pc:sldMk cId="732552518" sldId="362"/>
            <ac:spMk id="15" creationId="{9175E41B-8D90-4B9C-AA0C-02FF09B533AA}"/>
          </ac:spMkLst>
        </pc:spChg>
        <pc:spChg chg="add del mod">
          <ac:chgData name="Schäfermeier, Bastian" userId="222eb8a9-5069-4046-88bd-a10549caffd0" providerId="ADAL" clId="{CD807069-DDAC-457A-97A7-358692896444}" dt="2023-06-28T07:48:25.590" v="3343" actId="478"/>
          <ac:spMkLst>
            <pc:docMk/>
            <pc:sldMk cId="732552518" sldId="362"/>
            <ac:spMk id="16" creationId="{D92AD386-9A2C-8B51-2B9A-7B6FAB7C150A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17" creationId="{6697655D-C706-FAD1-B062-C4F9C660E7C4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29" creationId="{B1ABFDC2-9AF3-BEFC-A61D-F67051DEBA86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33" creationId="{A8990078-C29A-0191-E4DA-EF73EC9EA2A9}"/>
          </ac:spMkLst>
        </pc:spChg>
        <pc:spChg chg="add mod topLvl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37" creationId="{CB884E44-4F3E-3757-0A94-53D3074894CD}"/>
          </ac:spMkLst>
        </pc:spChg>
        <pc:spChg chg="add del mod">
          <ac:chgData name="Schäfermeier, Bastian" userId="222eb8a9-5069-4046-88bd-a10549caffd0" providerId="ADAL" clId="{CD807069-DDAC-457A-97A7-358692896444}" dt="2023-06-28T08:02:18.562" v="3383"/>
          <ac:spMkLst>
            <pc:docMk/>
            <pc:sldMk cId="732552518" sldId="362"/>
            <ac:spMk id="41" creationId="{B9B3677A-68B3-097A-B05D-E6F3CB1682F8}"/>
          </ac:spMkLst>
        </pc:spChg>
        <pc:spChg chg="add mod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43" creationId="{1C000CD4-D275-1B25-1F97-12BFF24A4590}"/>
          </ac:spMkLst>
        </pc:spChg>
        <pc:spChg chg="add del mod">
          <ac:chgData name="Schäfermeier, Bastian" userId="222eb8a9-5069-4046-88bd-a10549caffd0" providerId="ADAL" clId="{CD807069-DDAC-457A-97A7-358692896444}" dt="2023-06-28T12:36:33.825" v="4258" actId="478"/>
          <ac:spMkLst>
            <pc:docMk/>
            <pc:sldMk cId="732552518" sldId="362"/>
            <ac:spMk id="46" creationId="{DDB42932-C077-B9BE-6777-20909461B5C5}"/>
          </ac:spMkLst>
        </pc:spChg>
        <pc:spChg chg="add mod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47" creationId="{11BBD8D6-C1B9-B04B-D871-BFC368BC9577}"/>
          </ac:spMkLst>
        </pc:spChg>
        <pc:spChg chg="add del mod">
          <ac:chgData name="Schäfermeier, Bastian" userId="222eb8a9-5069-4046-88bd-a10549caffd0" providerId="ADAL" clId="{CD807069-DDAC-457A-97A7-358692896444}" dt="2023-06-28T12:18:25.977" v="3916" actId="478"/>
          <ac:spMkLst>
            <pc:docMk/>
            <pc:sldMk cId="732552518" sldId="362"/>
            <ac:spMk id="55" creationId="{B22707BC-B4E8-3BB9-CEA6-468E41439604}"/>
          </ac:spMkLst>
        </pc:spChg>
        <pc:spChg chg="add del mod">
          <ac:chgData name="Schäfermeier, Bastian" userId="222eb8a9-5069-4046-88bd-a10549caffd0" providerId="ADAL" clId="{CD807069-DDAC-457A-97A7-358692896444}" dt="2023-06-28T12:20:36.445" v="3944"/>
          <ac:spMkLst>
            <pc:docMk/>
            <pc:sldMk cId="732552518" sldId="362"/>
            <ac:spMk id="56" creationId="{48E06755-F992-C4EF-9619-08AD2A2493B3}"/>
          </ac:spMkLst>
        </pc:spChg>
        <pc:spChg chg="add mod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57" creationId="{9AC34466-D6F9-68D7-57C5-5BB07D44A7C9}"/>
          </ac:spMkLst>
        </pc:spChg>
        <pc:spChg chg="add mod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61" creationId="{4B9B5095-CB85-2E30-B97C-75EE22B2CC7E}"/>
          </ac:spMkLst>
        </pc:spChg>
        <pc:spChg chg="add del mod">
          <ac:chgData name="Schäfermeier, Bastian" userId="222eb8a9-5069-4046-88bd-a10549caffd0" providerId="ADAL" clId="{CD807069-DDAC-457A-97A7-358692896444}" dt="2023-06-28T12:23:34.938" v="4030" actId="478"/>
          <ac:spMkLst>
            <pc:docMk/>
            <pc:sldMk cId="732552518" sldId="362"/>
            <ac:spMk id="63" creationId="{57085AE1-D36A-FCA4-B4A8-2F443458A4D0}"/>
          </ac:spMkLst>
        </pc:spChg>
        <pc:spChg chg="add mod">
          <ac:chgData name="Schäfermeier, Bastian" userId="222eb8a9-5069-4046-88bd-a10549caffd0" providerId="ADAL" clId="{CD807069-DDAC-457A-97A7-358692896444}" dt="2023-06-28T12:39:49.375" v="4294" actId="1076"/>
          <ac:spMkLst>
            <pc:docMk/>
            <pc:sldMk cId="732552518" sldId="362"/>
            <ac:spMk id="64" creationId="{88B50E67-3F70-CA85-DF1F-47B542870C1B}"/>
          </ac:spMkLst>
        </pc:spChg>
        <pc:spChg chg="add del mod">
          <ac:chgData name="Schäfermeier, Bastian" userId="222eb8a9-5069-4046-88bd-a10549caffd0" providerId="ADAL" clId="{CD807069-DDAC-457A-97A7-358692896444}" dt="2023-06-28T12:34:57.823" v="4200" actId="767"/>
          <ac:spMkLst>
            <pc:docMk/>
            <pc:sldMk cId="732552518" sldId="362"/>
            <ac:spMk id="101" creationId="{CBD412A3-A007-1753-FC97-812FB53FC8B4}"/>
          </ac:spMkLst>
        </pc:spChg>
        <pc:spChg chg="add del mod">
          <ac:chgData name="Schäfermeier, Bastian" userId="222eb8a9-5069-4046-88bd-a10549caffd0" providerId="ADAL" clId="{CD807069-DDAC-457A-97A7-358692896444}" dt="2023-06-28T12:39:01.941" v="4285" actId="478"/>
          <ac:spMkLst>
            <pc:docMk/>
            <pc:sldMk cId="732552518" sldId="362"/>
            <ac:spMk id="116" creationId="{1335BF56-4DEF-67E2-850F-7E6CB53BFDBC}"/>
          </ac:spMkLst>
        </pc:spChg>
        <pc:spChg chg="add del mod">
          <ac:chgData name="Schäfermeier, Bastian" userId="222eb8a9-5069-4046-88bd-a10549caffd0" providerId="ADAL" clId="{CD807069-DDAC-457A-97A7-358692896444}" dt="2023-06-28T12:39:01.941" v="4285" actId="478"/>
          <ac:spMkLst>
            <pc:docMk/>
            <pc:sldMk cId="732552518" sldId="362"/>
            <ac:spMk id="117" creationId="{C5113147-65DA-861D-0005-CB9C88336697}"/>
          </ac:spMkLst>
        </pc:spChg>
        <pc:spChg chg="add del mod">
          <ac:chgData name="Schäfermeier, Bastian" userId="222eb8a9-5069-4046-88bd-a10549caffd0" providerId="ADAL" clId="{CD807069-DDAC-457A-97A7-358692896444}" dt="2023-06-28T12:39:06.216" v="4287" actId="478"/>
          <ac:spMkLst>
            <pc:docMk/>
            <pc:sldMk cId="732552518" sldId="362"/>
            <ac:spMk id="119" creationId="{3A48F89D-BE06-039B-5ADD-7270078629A2}"/>
          </ac:spMkLst>
        </pc:spChg>
        <pc:spChg chg="add mod">
          <ac:chgData name="Schäfermeier, Bastian" userId="222eb8a9-5069-4046-88bd-a10549caffd0" providerId="ADAL" clId="{CD807069-DDAC-457A-97A7-358692896444}" dt="2023-06-28T12:49:54.659" v="4299" actId="1076"/>
          <ac:spMkLst>
            <pc:docMk/>
            <pc:sldMk cId="732552518" sldId="362"/>
            <ac:spMk id="126" creationId="{4228CA89-880C-72AA-C4E0-F6A3EBCCF56C}"/>
          </ac:spMkLst>
        </pc:spChg>
        <pc:spChg chg="add mod">
          <ac:chgData name="Schäfermeier, Bastian" userId="222eb8a9-5069-4046-88bd-a10549caffd0" providerId="ADAL" clId="{CD807069-DDAC-457A-97A7-358692896444}" dt="2023-06-28T12:49:54.659" v="4299" actId="1076"/>
          <ac:spMkLst>
            <pc:docMk/>
            <pc:sldMk cId="732552518" sldId="362"/>
            <ac:spMk id="127" creationId="{B2BBF240-A999-CE34-91AE-0A1D1589DE5C}"/>
          </ac:spMkLst>
        </pc:spChg>
        <pc:spChg chg="add mod">
          <ac:chgData name="Schäfermeier, Bastian" userId="222eb8a9-5069-4046-88bd-a10549caffd0" providerId="ADAL" clId="{CD807069-DDAC-457A-97A7-358692896444}" dt="2023-06-28T12:49:54.659" v="4299" actId="1076"/>
          <ac:spMkLst>
            <pc:docMk/>
            <pc:sldMk cId="732552518" sldId="362"/>
            <ac:spMk id="129" creationId="{1EB69DA0-7F25-05DC-BB9F-04EBCA8CD354}"/>
          </ac:spMkLst>
        </pc:spChg>
        <pc:spChg chg="add mod">
          <ac:chgData name="Schäfermeier, Bastian" userId="222eb8a9-5069-4046-88bd-a10549caffd0" providerId="ADAL" clId="{CD807069-DDAC-457A-97A7-358692896444}" dt="2023-06-28T12:50:02.920" v="4300" actId="1076"/>
          <ac:spMkLst>
            <pc:docMk/>
            <pc:sldMk cId="732552518" sldId="362"/>
            <ac:spMk id="133" creationId="{8074D7E9-2689-B6FD-F86D-62659921580D}"/>
          </ac:spMkLst>
        </pc:spChg>
        <pc:spChg chg="add mod">
          <ac:chgData name="Schäfermeier, Bastian" userId="222eb8a9-5069-4046-88bd-a10549caffd0" providerId="ADAL" clId="{CD807069-DDAC-457A-97A7-358692896444}" dt="2023-06-28T12:50:02.920" v="4300" actId="1076"/>
          <ac:spMkLst>
            <pc:docMk/>
            <pc:sldMk cId="732552518" sldId="362"/>
            <ac:spMk id="134" creationId="{EB8AEF21-8C7E-AD2C-0D90-179FFABDD734}"/>
          </ac:spMkLst>
        </pc:spChg>
        <pc:spChg chg="add mod">
          <ac:chgData name="Schäfermeier, Bastian" userId="222eb8a9-5069-4046-88bd-a10549caffd0" providerId="ADAL" clId="{CD807069-DDAC-457A-97A7-358692896444}" dt="2023-06-28T12:50:02.920" v="4300" actId="1076"/>
          <ac:spMkLst>
            <pc:docMk/>
            <pc:sldMk cId="732552518" sldId="362"/>
            <ac:spMk id="136" creationId="{C2DB630E-00E5-D8A6-F13C-385C2A94DC9A}"/>
          </ac:spMkLst>
        </pc:spChg>
        <pc:grpChg chg="add del mod">
          <ac:chgData name="Schäfermeier, Bastian" userId="222eb8a9-5069-4046-88bd-a10549caffd0" providerId="ADAL" clId="{CD807069-DDAC-457A-97A7-358692896444}" dt="2023-06-28T11:49:47.822" v="3799" actId="165"/>
          <ac:grpSpMkLst>
            <pc:docMk/>
            <pc:sldMk cId="732552518" sldId="362"/>
            <ac:grpSpMk id="42" creationId="{4F229489-6CC0-BA58-85C8-BCF983C32FBC}"/>
          </ac:grpSpMkLst>
        </pc:grpChg>
        <pc:cxnChg chg="add del mod">
          <ac:chgData name="Schäfermeier, Bastian" userId="222eb8a9-5069-4046-88bd-a10549caffd0" providerId="ADAL" clId="{CD807069-DDAC-457A-97A7-358692896444}" dt="2023-06-28T07:48:25.590" v="3343" actId="478"/>
          <ac:cxnSpMkLst>
            <pc:docMk/>
            <pc:sldMk cId="732552518" sldId="362"/>
            <ac:cxnSpMk id="19" creationId="{0BB7E55A-B2C9-F8C0-0F27-57224E139F59}"/>
          </ac:cxnSpMkLst>
        </pc:cxnChg>
        <pc:cxnChg chg="add mod topLvl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22" creationId="{E1028933-55F8-8C3D-1952-B9F7698372C6}"/>
          </ac:cxnSpMkLst>
        </pc:cxnChg>
        <pc:cxnChg chg="add mod topLvl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25" creationId="{6EADFD57-0A7E-FA0F-3E7B-1EBE681A6ABB}"/>
          </ac:cxnSpMkLst>
        </pc:cxnChg>
        <pc:cxnChg chg="add mod topLvl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31" creationId="{FAA87EA7-81AE-A15C-9306-33AA43EEE4A8}"/>
          </ac:cxnSpMkLst>
        </pc:cxnChg>
        <pc:cxnChg chg="add mod topLvl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35" creationId="{9AB06C73-A7C7-9A71-C66C-CB5DFEC5004A}"/>
          </ac:cxnSpMkLst>
        </pc:cxnChg>
        <pc:cxnChg chg="add mod topLvl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39" creationId="{8667469B-AA8F-FD79-B1E7-97364EF61A1A}"/>
          </ac:cxnSpMkLst>
        </pc:cxnChg>
        <pc:cxnChg chg="add mod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50" creationId="{4CF49E8C-6409-F584-1C49-AB402B6637CA}"/>
          </ac:cxnSpMkLst>
        </pc:cxnChg>
        <pc:cxnChg chg="add mod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58" creationId="{5EA4995E-BAC1-9685-9B5E-2F2FE18F0D32}"/>
          </ac:cxnSpMkLst>
        </pc:cxnChg>
        <pc:cxnChg chg="add mod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65" creationId="{2EC9BB7E-103B-5FA9-01A2-329C6953FF16}"/>
          </ac:cxnSpMkLst>
        </pc:cxnChg>
        <pc:cxnChg chg="add del mod">
          <ac:chgData name="Schäfermeier, Bastian" userId="222eb8a9-5069-4046-88bd-a10549caffd0" providerId="ADAL" clId="{CD807069-DDAC-457A-97A7-358692896444}" dt="2023-06-28T12:26:05.521" v="4091" actId="11529"/>
          <ac:cxnSpMkLst>
            <pc:docMk/>
            <pc:sldMk cId="732552518" sldId="362"/>
            <ac:cxnSpMk id="83" creationId="{BA316FAB-8672-269B-4C79-239FFED6E283}"/>
          </ac:cxnSpMkLst>
        </pc:cxnChg>
        <pc:cxnChg chg="add mod">
          <ac:chgData name="Schäfermeier, Bastian" userId="222eb8a9-5069-4046-88bd-a10549caffd0" providerId="ADAL" clId="{CD807069-DDAC-457A-97A7-358692896444}" dt="2023-06-28T12:53:47.899" v="4301" actId="208"/>
          <ac:cxnSpMkLst>
            <pc:docMk/>
            <pc:sldMk cId="732552518" sldId="362"/>
            <ac:cxnSpMk id="86" creationId="{F77817F3-F3BB-588F-F7A1-21D4C8C7D7F6}"/>
          </ac:cxnSpMkLst>
        </pc:cxnChg>
        <pc:cxnChg chg="add mod">
          <ac:chgData name="Schäfermeier, Bastian" userId="222eb8a9-5069-4046-88bd-a10549caffd0" providerId="ADAL" clId="{CD807069-DDAC-457A-97A7-358692896444}" dt="2023-06-28T12:39:49.375" v="4294" actId="1076"/>
          <ac:cxnSpMkLst>
            <pc:docMk/>
            <pc:sldMk cId="732552518" sldId="362"/>
            <ac:cxnSpMk id="100" creationId="{A3837295-FC9C-2BF3-AEB8-01A01E2BDEBA}"/>
          </ac:cxnSpMkLst>
        </pc:cxnChg>
        <pc:cxnChg chg="add del mod">
          <ac:chgData name="Schäfermeier, Bastian" userId="222eb8a9-5069-4046-88bd-a10549caffd0" providerId="ADAL" clId="{CD807069-DDAC-457A-97A7-358692896444}" dt="2023-06-28T12:39:01.941" v="4285" actId="478"/>
          <ac:cxnSpMkLst>
            <pc:docMk/>
            <pc:sldMk cId="732552518" sldId="362"/>
            <ac:cxnSpMk id="118" creationId="{C8745971-2023-7CBF-1C8E-67F97707659C}"/>
          </ac:cxnSpMkLst>
        </pc:cxnChg>
        <pc:cxnChg chg="add del mod">
          <ac:chgData name="Schäfermeier, Bastian" userId="222eb8a9-5069-4046-88bd-a10549caffd0" providerId="ADAL" clId="{CD807069-DDAC-457A-97A7-358692896444}" dt="2023-06-28T12:39:01.941" v="4285" actId="478"/>
          <ac:cxnSpMkLst>
            <pc:docMk/>
            <pc:sldMk cId="732552518" sldId="362"/>
            <ac:cxnSpMk id="120" creationId="{E03E6B3D-81E9-A110-C622-D2DD469481BC}"/>
          </ac:cxnSpMkLst>
        </pc:cxnChg>
        <pc:cxnChg chg="add mod">
          <ac:chgData name="Schäfermeier, Bastian" userId="222eb8a9-5069-4046-88bd-a10549caffd0" providerId="ADAL" clId="{CD807069-DDAC-457A-97A7-358692896444}" dt="2023-06-28T12:49:54.659" v="4299" actId="1076"/>
          <ac:cxnSpMkLst>
            <pc:docMk/>
            <pc:sldMk cId="732552518" sldId="362"/>
            <ac:cxnSpMk id="128" creationId="{F0939D4A-1256-94E4-A1E9-799784314529}"/>
          </ac:cxnSpMkLst>
        </pc:cxnChg>
        <pc:cxnChg chg="add mod">
          <ac:chgData name="Schäfermeier, Bastian" userId="222eb8a9-5069-4046-88bd-a10549caffd0" providerId="ADAL" clId="{CD807069-DDAC-457A-97A7-358692896444}" dt="2023-06-28T12:49:54.659" v="4299" actId="1076"/>
          <ac:cxnSpMkLst>
            <pc:docMk/>
            <pc:sldMk cId="732552518" sldId="362"/>
            <ac:cxnSpMk id="130" creationId="{5B8D899D-CAC1-3D54-BF4F-E0CEC944E028}"/>
          </ac:cxnSpMkLst>
        </pc:cxnChg>
        <pc:cxnChg chg="add mod">
          <ac:chgData name="Schäfermeier, Bastian" userId="222eb8a9-5069-4046-88bd-a10549caffd0" providerId="ADAL" clId="{CD807069-DDAC-457A-97A7-358692896444}" dt="2023-06-28T12:49:54.659" v="4299" actId="1076"/>
          <ac:cxnSpMkLst>
            <pc:docMk/>
            <pc:sldMk cId="732552518" sldId="362"/>
            <ac:cxnSpMk id="132" creationId="{AAD26016-91EA-FD41-A1AF-511EFAA4D736}"/>
          </ac:cxnSpMkLst>
        </pc:cxnChg>
        <pc:cxnChg chg="add mod">
          <ac:chgData name="Schäfermeier, Bastian" userId="222eb8a9-5069-4046-88bd-a10549caffd0" providerId="ADAL" clId="{CD807069-DDAC-457A-97A7-358692896444}" dt="2023-06-28T12:50:02.920" v="4300" actId="1076"/>
          <ac:cxnSpMkLst>
            <pc:docMk/>
            <pc:sldMk cId="732552518" sldId="362"/>
            <ac:cxnSpMk id="135" creationId="{D6E192BF-07D9-0CCB-C4C2-8A8144AFE3C3}"/>
          </ac:cxnSpMkLst>
        </pc:cxnChg>
        <pc:cxnChg chg="add mod">
          <ac:chgData name="Schäfermeier, Bastian" userId="222eb8a9-5069-4046-88bd-a10549caffd0" providerId="ADAL" clId="{CD807069-DDAC-457A-97A7-358692896444}" dt="2023-06-28T12:50:02.920" v="4300" actId="1076"/>
          <ac:cxnSpMkLst>
            <pc:docMk/>
            <pc:sldMk cId="732552518" sldId="362"/>
            <ac:cxnSpMk id="137" creationId="{80C51280-EDB1-F691-BC14-16226081AD90}"/>
          </ac:cxnSpMkLst>
        </pc:cxnChg>
        <pc:cxnChg chg="add mod">
          <ac:chgData name="Schäfermeier, Bastian" userId="222eb8a9-5069-4046-88bd-a10549caffd0" providerId="ADAL" clId="{CD807069-DDAC-457A-97A7-358692896444}" dt="2023-06-28T12:50:02.920" v="4300" actId="1076"/>
          <ac:cxnSpMkLst>
            <pc:docMk/>
            <pc:sldMk cId="732552518" sldId="362"/>
            <ac:cxnSpMk id="139" creationId="{6A118583-288B-A091-3143-FA5C2C975CF7}"/>
          </ac:cxnSpMkLst>
        </pc:cxnChg>
      </pc:sldChg>
      <pc:sldChg chg="addSp delSp modSp add mod ord">
        <pc:chgData name="Schäfermeier, Bastian" userId="222eb8a9-5069-4046-88bd-a10549caffd0" providerId="ADAL" clId="{CD807069-DDAC-457A-97A7-358692896444}" dt="2023-06-30T14:04:28.643" v="7258" actId="6549"/>
        <pc:sldMkLst>
          <pc:docMk/>
          <pc:sldMk cId="2617137735" sldId="363"/>
        </pc:sldMkLst>
        <pc:spChg chg="mod">
          <ac:chgData name="Schäfermeier, Bastian" userId="222eb8a9-5069-4046-88bd-a10549caffd0" providerId="ADAL" clId="{CD807069-DDAC-457A-97A7-358692896444}" dt="2023-06-30T14:04:28.643" v="7258" actId="6549"/>
          <ac:spMkLst>
            <pc:docMk/>
            <pc:sldMk cId="2617137735" sldId="363"/>
            <ac:spMk id="2" creationId="{3023E634-4318-419C-B03F-D5665391FB05}"/>
          </ac:spMkLst>
        </pc:spChg>
        <pc:spChg chg="add del mod">
          <ac:chgData name="Schäfermeier, Bastian" userId="222eb8a9-5069-4046-88bd-a10549caffd0" providerId="ADAL" clId="{CD807069-DDAC-457A-97A7-358692896444}" dt="2023-06-28T14:31:44.413" v="5576" actId="20577"/>
          <ac:spMkLst>
            <pc:docMk/>
            <pc:sldMk cId="2617137735" sldId="363"/>
            <ac:spMk id="3" creationId="{F43F35B2-4B13-4AA9-BABC-6AC2B3B16BB7}"/>
          </ac:spMkLst>
        </pc:spChg>
        <pc:spChg chg="add del mod">
          <ac:chgData name="Schäfermeier, Bastian" userId="222eb8a9-5069-4046-88bd-a10549caffd0" providerId="ADAL" clId="{CD807069-DDAC-457A-97A7-358692896444}" dt="2023-06-28T14:31:22.332" v="5568"/>
          <ac:spMkLst>
            <pc:docMk/>
            <pc:sldMk cId="2617137735" sldId="363"/>
            <ac:spMk id="5" creationId="{962215A3-B6B7-105A-F08E-863FCA013FCC}"/>
          </ac:spMkLst>
        </pc:spChg>
        <pc:spChg chg="mod">
          <ac:chgData name="Schäfermeier, Bastian" userId="222eb8a9-5069-4046-88bd-a10549caffd0" providerId="ADAL" clId="{CD807069-DDAC-457A-97A7-358692896444}" dt="2023-06-28T13:59:01.274" v="4971" actId="20577"/>
          <ac:spMkLst>
            <pc:docMk/>
            <pc:sldMk cId="2617137735" sldId="363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CD807069-DDAC-457A-97A7-358692896444}" dt="2023-06-28T14:31:25.762" v="5570"/>
          <ac:spMkLst>
            <pc:docMk/>
            <pc:sldMk cId="2617137735" sldId="363"/>
            <ac:spMk id="8" creationId="{AC584995-0B88-4844-3745-248A703ED8AC}"/>
          </ac:spMkLst>
        </pc:spChg>
        <pc:spChg chg="add del mod">
          <ac:chgData name="Schäfermeier, Bastian" userId="222eb8a9-5069-4046-88bd-a10549caffd0" providerId="ADAL" clId="{CD807069-DDAC-457A-97A7-358692896444}" dt="2023-06-28T14:31:34.210" v="5572"/>
          <ac:spMkLst>
            <pc:docMk/>
            <pc:sldMk cId="2617137735" sldId="363"/>
            <ac:spMk id="10" creationId="{75B06656-7632-A27D-A8FF-DC87C5D7DC4E}"/>
          </ac:spMkLst>
        </pc:spChg>
        <pc:spChg chg="mod">
          <ac:chgData name="Schäfermeier, Bastian" userId="222eb8a9-5069-4046-88bd-a10549caffd0" providerId="ADAL" clId="{CD807069-DDAC-457A-97A7-358692896444}" dt="2023-06-28T15:09:03.127" v="6171" actId="20577"/>
          <ac:spMkLst>
            <pc:docMk/>
            <pc:sldMk cId="2617137735" sldId="363"/>
            <ac:spMk id="15" creationId="{9175E41B-8D90-4B9C-AA0C-02FF09B533AA}"/>
          </ac:spMkLst>
        </pc:spChg>
      </pc:sldChg>
      <pc:sldChg chg="addSp delSp modSp add del mod ord">
        <pc:chgData name="Schäfermeier, Bastian" userId="222eb8a9-5069-4046-88bd-a10549caffd0" providerId="ADAL" clId="{CD807069-DDAC-457A-97A7-358692896444}" dt="2023-06-28T16:33:08.309" v="7149" actId="47"/>
        <pc:sldMkLst>
          <pc:docMk/>
          <pc:sldMk cId="2676757847" sldId="364"/>
        </pc:sldMkLst>
        <pc:spChg chg="mod">
          <ac:chgData name="Schäfermeier, Bastian" userId="222eb8a9-5069-4046-88bd-a10549caffd0" providerId="ADAL" clId="{CD807069-DDAC-457A-97A7-358692896444}" dt="2023-06-21T13:42:36.661" v="2989" actId="1076"/>
          <ac:spMkLst>
            <pc:docMk/>
            <pc:sldMk cId="2676757847" sldId="364"/>
            <ac:spMk id="2" creationId="{CAEDC057-106E-49BD-9BFF-565ABFBFA2A7}"/>
          </ac:spMkLst>
        </pc:spChg>
        <pc:spChg chg="del mod">
          <ac:chgData name="Schäfermeier, Bastian" userId="222eb8a9-5069-4046-88bd-a10549caffd0" providerId="ADAL" clId="{CD807069-DDAC-457A-97A7-358692896444}" dt="2023-06-21T13:40:23.196" v="2948" actId="478"/>
          <ac:spMkLst>
            <pc:docMk/>
            <pc:sldMk cId="2676757847" sldId="364"/>
            <ac:spMk id="3" creationId="{00000000-0000-0000-0000-000000000000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4" creationId="{00000000-0000-0000-0000-000000000000}"/>
          </ac:spMkLst>
        </pc:spChg>
        <pc:spChg chg="mod">
          <ac:chgData name="Schäfermeier, Bastian" userId="222eb8a9-5069-4046-88bd-a10549caffd0" providerId="ADAL" clId="{CD807069-DDAC-457A-97A7-358692896444}" dt="2023-06-21T13:42:36.661" v="2989" actId="1076"/>
          <ac:spMkLst>
            <pc:docMk/>
            <pc:sldMk cId="2676757847" sldId="364"/>
            <ac:spMk id="5" creationId="{8D5AC737-E6B6-41B1-B4D2-5C43522D5073}"/>
          </ac:spMkLst>
        </pc:spChg>
        <pc:spChg chg="mod">
          <ac:chgData name="Schäfermeier, Bastian" userId="222eb8a9-5069-4046-88bd-a10549caffd0" providerId="ADAL" clId="{CD807069-DDAC-457A-97A7-358692896444}" dt="2023-06-21T13:42:36.661" v="2989" actId="1076"/>
          <ac:spMkLst>
            <pc:docMk/>
            <pc:sldMk cId="2676757847" sldId="364"/>
            <ac:spMk id="6" creationId="{981A7CC9-293B-4BA4-91A2-A3C12C465CFC}"/>
          </ac:spMkLst>
        </pc:spChg>
        <pc:spChg chg="mod">
          <ac:chgData name="Schäfermeier, Bastian" userId="222eb8a9-5069-4046-88bd-a10549caffd0" providerId="ADAL" clId="{CD807069-DDAC-457A-97A7-358692896444}" dt="2023-06-28T13:41:24.896" v="4859" actId="20577"/>
          <ac:spMkLst>
            <pc:docMk/>
            <pc:sldMk cId="2676757847" sldId="364"/>
            <ac:spMk id="7" creationId="{83E5052C-74D3-4E8D-B5BD-603503280906}"/>
          </ac:spMkLst>
        </pc:spChg>
        <pc:spChg chg="mod">
          <ac:chgData name="Schäfermeier, Bastian" userId="222eb8a9-5069-4046-88bd-a10549caffd0" providerId="ADAL" clId="{CD807069-DDAC-457A-97A7-358692896444}" dt="2023-06-28T13:41:28.370" v="4868" actId="20577"/>
          <ac:spMkLst>
            <pc:docMk/>
            <pc:sldMk cId="2676757847" sldId="364"/>
            <ac:spMk id="9" creationId="{B1BE8E5E-11BC-42C8-AF9C-9782F681B32E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10" creationId="{00000000-0000-0000-0000-000000000000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11" creationId="{00000000-0000-0000-0000-000000000000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13" creationId="{64BB0F93-8532-49F6-B8B5-A0696FD2EB28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14" creationId="{FFB20BA6-91F2-4FA3-8557-5EB7F2B876C8}"/>
          </ac:spMkLst>
        </pc:spChg>
        <pc:spChg chg="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15" creationId="{E170BC20-4930-4506-8470-6F45AE77F7D2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17" creationId="{338F4506-A3EE-4FD9-F853-8DFF4CF6B3D6}"/>
          </ac:spMkLst>
        </pc:spChg>
        <pc:spChg chg="del mod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18" creationId="{B90EAB81-BFC4-49C0-B543-6991380BF12B}"/>
          </ac:spMkLst>
        </pc:spChg>
        <pc:spChg chg="del">
          <ac:chgData name="Schäfermeier, Bastian" userId="222eb8a9-5069-4046-88bd-a10549caffd0" providerId="ADAL" clId="{CD807069-DDAC-457A-97A7-358692896444}" dt="2023-06-21T13:40:54.946" v="2957" actId="478"/>
          <ac:spMkLst>
            <pc:docMk/>
            <pc:sldMk cId="2676757847" sldId="364"/>
            <ac:spMk id="20" creationId="{56CFF872-62FD-458F-AF1D-B6AFB37E6AA9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1" creationId="{6D295B81-8C18-714F-CB56-4FACCE1257E1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2" creationId="{AF5A3C15-9919-83F2-F5C6-3B56CF0BE07B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3" creationId="{CBE9C84D-0A8E-7F24-8A9E-6A3F84FE8117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4" creationId="{AFA0E9A3-2E65-2841-AB84-8AC0AB3EBD0C}"/>
          </ac:spMkLst>
        </pc:spChg>
        <pc:spChg chg="del mod">
          <ac:chgData name="Schäfermeier, Bastian" userId="222eb8a9-5069-4046-88bd-a10549caffd0" providerId="ADAL" clId="{CD807069-DDAC-457A-97A7-358692896444}" dt="2023-06-21T13:37:40.547" v="2888" actId="478"/>
          <ac:spMkLst>
            <pc:docMk/>
            <pc:sldMk cId="2676757847" sldId="364"/>
            <ac:spMk id="25" creationId="{51674821-0479-46C1-B0F6-D900C063C45A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8" creationId="{FBF9606D-CD00-01B1-0CE8-083996D87894}"/>
          </ac:spMkLst>
        </pc:spChg>
        <pc:spChg chg="mod">
          <ac:chgData name="Schäfermeier, Bastian" userId="222eb8a9-5069-4046-88bd-a10549caffd0" providerId="ADAL" clId="{CD807069-DDAC-457A-97A7-358692896444}" dt="2023-06-21T13:37:54.546" v="2889"/>
          <ac:spMkLst>
            <pc:docMk/>
            <pc:sldMk cId="2676757847" sldId="364"/>
            <ac:spMk id="29" creationId="{B3C2E36D-70BC-B25E-DC2A-7B9B1F3A3AB5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1" creationId="{027DC67F-ABCF-E49E-C071-5D47BE1937B2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2" creationId="{63D32D71-091A-CC0D-44F1-5A7DF420E5DA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3" creationId="{E6BC9EE5-3D49-8A5F-8025-F85A94A9091F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4" creationId="{BD64B76E-7B6D-32C1-9D3D-62D30D016CE4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5" creationId="{EBF0B8C2-3329-A966-306A-0A23F5F22BC2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6" creationId="{E2C8CC9A-46AB-30C3-E761-76AE85019185}"/>
          </ac:spMkLst>
        </pc:spChg>
        <pc:spChg chg="mod">
          <ac:chgData name="Schäfermeier, Bastian" userId="222eb8a9-5069-4046-88bd-a10549caffd0" providerId="ADAL" clId="{CD807069-DDAC-457A-97A7-358692896444}" dt="2023-06-21T13:40:16.678" v="2945"/>
          <ac:spMkLst>
            <pc:docMk/>
            <pc:sldMk cId="2676757847" sldId="364"/>
            <ac:spMk id="37" creationId="{4B0BE1D8-2000-AE8A-673B-C0B54EB21733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39" creationId="{9499D1BF-01B7-D80E-666D-FF90BBEE1A2E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0" creationId="{8555A1B0-A72F-EAC3-85A4-0E46756E48EA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1" creationId="{667A8557-B86B-B87E-4399-6A5CB8566D2C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2" creationId="{96FA486E-0B77-03B2-7491-51640F9FEC89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3" creationId="{5D0D6E10-6168-40EF-91FE-BEA3B0971C77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4" creationId="{2F7EB92D-05F6-9895-6A87-67806E5BC1CD}"/>
          </ac:spMkLst>
        </pc:spChg>
        <pc:spChg chg="mod">
          <ac:chgData name="Schäfermeier, Bastian" userId="222eb8a9-5069-4046-88bd-a10549caffd0" providerId="ADAL" clId="{CD807069-DDAC-457A-97A7-358692896444}" dt="2023-06-21T13:40:30.448" v="2951"/>
          <ac:spMkLst>
            <pc:docMk/>
            <pc:sldMk cId="2676757847" sldId="364"/>
            <ac:spMk id="45" creationId="{38258492-2740-EA7F-B8ED-0332C01ED7EB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46" creationId="{96AC469F-5EC6-89BC-B84C-AE74C40DA73F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48" creationId="{3AA3C664-DC92-5F0E-176F-F6F7A3B1649F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49" creationId="{A12C2802-5A3C-E665-25A2-D791FB874F3C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50" creationId="{586622C1-E8C8-FF84-6282-569854D5B956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51" creationId="{43928CDD-7C53-B750-E4D0-83D0B9C54D1E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52" creationId="{397360DB-4AAD-03BD-A979-D40B0094E255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53" creationId="{DCE20E96-C164-A31C-1CAC-882CB7CD7A78}"/>
          </ac:spMkLst>
        </pc:spChg>
        <pc:spChg chg="mod">
          <ac:chgData name="Schäfermeier, Bastian" userId="222eb8a9-5069-4046-88bd-a10549caffd0" providerId="ADAL" clId="{CD807069-DDAC-457A-97A7-358692896444}" dt="2023-06-21T13:40:58.767" v="2958"/>
          <ac:spMkLst>
            <pc:docMk/>
            <pc:sldMk cId="2676757847" sldId="364"/>
            <ac:spMk id="54" creationId="{3E4153BF-793F-7CBD-6F14-E1A40BB6BC06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55" creationId="{8AD8D19B-66E7-8420-4958-705BF1CF9581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57" creationId="{B11F9739-8E1A-AA56-D745-E3B91C4235AF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58" creationId="{37AD72A2-F333-596D-4ECF-D50EB9502C48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59" creationId="{9DCCB5FF-B94D-FC93-7F38-339061A221CC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60" creationId="{148A0FAA-746C-3BCF-C978-5D96173B2C2E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61" creationId="{B028ED9E-8EFD-8E33-0F65-45D5E774CA77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62" creationId="{F508FA4B-A6F7-E0A7-5C87-30D04A5C0086}"/>
          </ac:spMkLst>
        </pc:spChg>
        <pc:spChg chg="mod">
          <ac:chgData name="Schäfermeier, Bastian" userId="222eb8a9-5069-4046-88bd-a10549caffd0" providerId="ADAL" clId="{CD807069-DDAC-457A-97A7-358692896444}" dt="2023-06-21T13:41:30.587" v="2981"/>
          <ac:spMkLst>
            <pc:docMk/>
            <pc:sldMk cId="2676757847" sldId="364"/>
            <ac:spMk id="63" creationId="{07065F41-F2AC-70CE-39D6-B8D76F2D9331}"/>
          </ac:spMkLst>
        </pc:spChg>
        <pc:spChg chg="add del mod">
          <ac:chgData name="Schäfermeier, Bastian" userId="222eb8a9-5069-4046-88bd-a10549caffd0" providerId="ADAL" clId="{CD807069-DDAC-457A-97A7-358692896444}" dt="2023-06-21T13:43:16.210" v="2999" actId="478"/>
          <ac:spMkLst>
            <pc:docMk/>
            <pc:sldMk cId="2676757847" sldId="364"/>
            <ac:spMk id="64" creationId="{59B3CD39-9FC7-02CB-1F24-A563ECA952D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66" creationId="{4B3DFCF3-01BC-8835-9E50-C5A4EB458A5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67" creationId="{6D4329B7-3FAE-95CA-78E2-4F93307AEC6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68" creationId="{0BD7D53E-E830-EB3E-BCB3-BD0DC821A5E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0" creationId="{308A452B-F4DE-2140-2CF8-253CF247AE4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1" creationId="{F73DFBD6-389B-A2EC-F9BA-FF58ACB8805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2" creationId="{98D0D3DE-79F2-1F30-282F-BBE93961CB3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4" creationId="{E8753472-36D3-FEE3-88B7-2DBD7F4424A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5" creationId="{45E26632-659C-E7B4-3993-DEDCF0E20D2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7" creationId="{481F3801-C236-7D33-1DFF-050ECF7073F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78" creationId="{9FB49F63-DFA1-D876-92A8-1708E899C31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0" creationId="{80C83854-8940-8485-0923-50E6E3D62BE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1" creationId="{3FBD16A6-FA6C-27BF-D6A3-A8D7C01A822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3" creationId="{79001BF4-1D59-DC96-4124-5D572528697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4" creationId="{AA6F4E36-C26A-9C6C-A183-422F6583DD6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6" creationId="{847A9778-B804-FAB4-5AE9-590B523C4F7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7" creationId="{F64197B8-068D-35B7-8FAD-5CABFCE8764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8" creationId="{3B396CAA-4935-81E4-502D-70CFC5498F5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89" creationId="{B5F26481-74DB-9679-758B-3A588DA3E5C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1" creationId="{0C9897E5-902E-3FF6-BA54-3AD7C843ECD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2" creationId="{401CC6E4-1B09-110A-09DA-AA2AB7A2F57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3" creationId="{6D67288D-CCDB-A67E-096B-1D03886A830D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94" creationId="{0DE6EDA3-A783-3EE1-70C7-A1B68E78E22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6" creationId="{19C84F1E-359D-16A2-5C33-AD85F65F460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7" creationId="{61D35B1F-F3DC-721B-D9AD-3F7A18C6E0C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8" creationId="{39513C4F-DE4C-FFFF-963D-98096F7AD62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99" creationId="{A7DE7CBD-F30E-9AE9-7049-88F8217372B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0" creationId="{1FBA190D-F8C3-CBC1-430B-0647402B4763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101" creationId="{403377CE-8E49-5130-D596-B5F7C223745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3" creationId="{42C05863-247A-885A-66B3-E007E7F7116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4" creationId="{B977C50A-3F02-9693-8C71-B688115D3BC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5" creationId="{91392343-4F2F-D441-4C6E-C89BA39B563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6" creationId="{82EE0F38-154F-06C8-5908-41573CFE36B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7" creationId="{0543412E-FFCA-29C1-4D1F-95DC972AEAF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8" creationId="{DD9CA4AF-7BF9-1673-3F0A-55D2B9E9A5F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09" creationId="{C4172F87-9859-9666-25DC-324ACF00AA9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0" creationId="{91B05E22-1C01-9392-58C6-073C1F1943F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2" creationId="{20825986-251A-0469-16C7-C410EB6E504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3" creationId="{1792394E-BA23-0947-EE94-4DE565BD07D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5" creationId="{4629F2EB-DA1B-0BE1-7E0A-07BD0E69C71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6" creationId="{CFDBB698-8476-CA7F-0970-2888BF9BB8B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7" creationId="{381AD14E-68E8-2051-9787-0718ECA0812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8" creationId="{F7F07E23-F751-9909-B754-2DE2B3463C5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19" creationId="{4EC754F9-48A3-EC6D-E4F6-8809489C209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1" creationId="{3603B529-5080-D39E-8839-4B9EDBA010D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2" creationId="{B261870F-6E00-7097-00E8-A324FE5C012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3" creationId="{05732A72-4DE0-F0B7-FC3F-B6196068B1E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4" creationId="{E51E173E-0F18-8C4B-6F51-0B933B11B6B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5" creationId="{B76FDD57-DA80-6328-813E-43A22F2EB1A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6" creationId="{B3AB6E3D-62AD-7B3D-D2D4-8889C03D9AD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7" creationId="{B90D1638-C732-7816-A445-16954F234A8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8" creationId="{E4A4EF95-F6D5-555D-6EF8-A462AF3AF0B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29" creationId="{85CF0F58-EA0E-E439-897A-83823641ED8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1" creationId="{9E8212F3-EA59-B313-99BA-8D33065BE8C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2" creationId="{E6797374-65AB-216B-7657-6AC45EE5641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3" creationId="{B6F0C9CC-A01D-9A25-791B-04038FAAFAA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4" creationId="{1308A888-81AD-33C7-DD35-DD92D7E2A0D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5" creationId="{F0AE0E1A-63E9-1951-EA79-04C40695ADC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6" creationId="{336B4166-2D13-27C8-C9BC-097529B2B2D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7" creationId="{BA481865-36F3-E91D-A36A-3157CD18394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8" creationId="{532B94D1-4D51-A183-0F76-123DAB8E8D2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39" creationId="{68CCDC47-EA0F-3C34-6458-9131CBC554A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0" creationId="{D91B7566-9300-80C5-C977-53A5049740D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2" creationId="{B40ACC57-B40C-5B7E-1DB4-91410CC5513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3" creationId="{C669616B-B73C-1D2B-4D6C-E909D7C1113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4" creationId="{440CF39C-4F8C-A4DF-E144-5E78ADE545A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5" creationId="{D913328A-E90D-9F20-1AC2-9E2FA49CED2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6" creationId="{7530650A-AEA9-21A3-D487-D90A977BE10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7" creationId="{C2848CCD-745D-53F7-2592-D574161EB8B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48" creationId="{FDF0AD49-7DA3-F5E8-316B-A12741C9ABA1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149" creationId="{C3E6D8CB-F431-766D-F7BB-ADAE4BBBB6B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1" creationId="{C6EEF4C3-8FC2-CACF-204F-C8BD59BAA07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2" creationId="{C2D1954E-0DA1-C0B6-E494-E86DB652EB9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3" creationId="{6B9E05AC-5D77-BC77-CA3F-04401389E79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5" creationId="{7259E535-D458-1A09-6500-094998F6321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6" creationId="{15D672D3-5D2C-B281-4CB9-B780D1CE7A1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7" creationId="{4AEA36B9-8A95-84AC-D53C-E06EF503288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8" creationId="{03C3904C-B6BA-26E9-B7CE-7EC3CBCBD40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59" creationId="{0D0ACBA6-0AFA-5392-137D-71365C2DD1B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0" creationId="{C6B7AAD7-B979-BA18-56F9-2677D05A280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1" creationId="{06DF3219-A7C8-DCEE-EEAE-7EFA7ADF592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2" creationId="{71521C20-308C-4D90-0E57-452A9E96A30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3" creationId="{A9C14C8B-83E6-86DE-E64B-1744D50CE2E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4" creationId="{F8744DA2-7007-6EFA-3E8A-4FA75087F97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5" creationId="{5CAAD798-0F27-0463-0810-B6278A195D4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6" creationId="{FE153B47-159E-8B6C-F537-EFF92174A50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7" creationId="{DBF40FF6-9584-D5C7-7D82-6D7E51526F4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8" creationId="{F206591D-9FAB-1C87-53C8-1B90ED53E15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69" creationId="{A5FC5AC2-0B1E-510E-3197-DDFBDFC6FC9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0" creationId="{8D10E617-6226-15AE-36E1-F72B47C05DB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1" creationId="{7FE161FA-8F6A-D9EF-1BD7-FFADC77F07B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2" creationId="{D4F19C18-95A2-2DC7-870B-17C1AF881CA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3" creationId="{AD45847B-7488-2FFF-F0A7-17A05738AD1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4" creationId="{3C6C975D-C9C1-7A62-BCBA-46B9278DD2F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5" creationId="{F0B8B584-8773-C4A0-3731-31AB0FF5555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6" creationId="{262FCBEF-A2B5-5D79-E411-4DBA5218A17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7" creationId="{B39054A6-B36D-6736-3295-CAF473A53A5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8" creationId="{A9B3953E-CC4D-0A9E-4852-B768931804A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79" creationId="{518AAC86-5BD1-08AB-4B36-D0C1FA03068F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0" creationId="{D42FEEDE-8728-9709-7329-8AC5FE4E443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1" creationId="{F33F85A3-5F43-7D6C-61B3-501AFBC1E5E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2" creationId="{EA6815D2-9954-8AD8-9A00-F498408712D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3" creationId="{CA09C769-60CE-518F-5537-AB1A463F841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4" creationId="{1AE91D78-2CD6-21A8-8EF8-8C611637823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5" creationId="{8A1DBE00-6717-9C2A-762D-16C39DD41E8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6" creationId="{6A8BD9D3-7995-9516-A82B-E0BE55D80E8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8" creationId="{84B4B83F-4DCD-AC30-11D6-84137525B6A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89" creationId="{689845F1-7E6E-182C-4DB3-4DD81752DD7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0" creationId="{8D4AF950-855E-5894-D01B-BE5F846C048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1" creationId="{3022A30A-3D3A-ADCC-788A-6581200656E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2" creationId="{5B34E6A6-C218-8989-AADC-51B041FFDE8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3" creationId="{F552C10B-F493-01A2-F631-DD25C91EC0D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4" creationId="{2717C957-4DB8-23B5-B997-6A5EA63729A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5" creationId="{8D8CDD1C-6910-9D88-814D-206455C80E0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6" creationId="{1166CCCD-70C3-614B-2893-D2BAE80F497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7" creationId="{5FB39683-5380-6AFE-955C-DE0E9AE8122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8" creationId="{66495073-A703-C3E1-7B65-A159B49CB05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199" creationId="{039E59EB-665C-92B4-F1E5-DFFC59C5D6C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0" creationId="{DEE606D7-6A94-D697-94E8-8E0EFA4A64D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1" creationId="{D139BE88-7EEB-57F1-387F-D619A99E296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2" creationId="{D737A2BD-32AE-7171-8FC9-757B06FA770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3" creationId="{10BA4534-5445-3117-76CC-58E4D39FA10A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4" creationId="{13DE95B1-BEA8-CF53-DEBA-46763355627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5" creationId="{214708F5-69DD-1287-2DDA-B43C7E8FE9C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6" creationId="{F7949239-4B46-5039-D179-28A6BE3FF69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7" creationId="{9FBF8AC2-0DFF-8697-6EE2-B08FEEF02D3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08" creationId="{7B8F2F7D-3910-26BF-7BD9-4E41CF6D6B3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0" creationId="{B5AA8116-5708-D00D-7F54-C8705553C47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1" creationId="{BB739F38-4D17-19BD-4A0B-75272BEFC325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2" creationId="{3C3461B6-C74C-9CFE-46AD-752267C8AA6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3" creationId="{323096FD-7495-1093-E5F1-DB840BE70DC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4" creationId="{6DB00B2C-0822-E4D9-9DF7-502F9278243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5" creationId="{71CACCC4-D35F-8615-CB99-E982E1494C6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6" creationId="{F89B8F78-95D3-234A-B2FC-EB2D2CA07BE7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7" creationId="{F79926AC-3BE1-6096-93B5-D76FC6C5EDB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8" creationId="{F2952A29-5A54-3C58-F543-9E111F90B0E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19" creationId="{BE884F7A-ED12-C7DC-9CEE-B34C1F4AAA48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1" creationId="{05D73A0E-634B-AF33-3A94-5091AE1E6E8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2" creationId="{B3F2108E-7CAA-30DB-AD83-9253BB9479A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3" creationId="{1BBE1989-3B57-75C8-A8F2-01BB123ECAAC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4" creationId="{4063A824-422D-FE37-6859-E7E50AF05B13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5" creationId="{36BB4513-3756-01D2-C17B-FBCDA8DCCEA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6" creationId="{C823A45D-9A19-BA4B-FA16-16874C7CCE1B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8" creationId="{9C60F064-A282-8EB9-3CCE-BE80BE1138A1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29" creationId="{544EAA9B-C897-1669-9C14-98583B8E743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0" creationId="{FE60A11C-81B8-A8D0-F9CF-ACCD9156CC69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2" creationId="{3B324D13-D878-C5D4-9CF3-38DB4F68D3D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3" creationId="{49DC40AF-4D23-B833-9C28-3785CFB6B31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5" creationId="{D7123757-92AD-B079-4D88-259C23A8CE0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6" creationId="{28451ADC-4BF3-5D1F-0E11-F0D894CDAB36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7" creationId="{6A712485-392F-B0BE-6F26-5B93D0E0FEA0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8" creationId="{A9CDE95F-1E57-53AF-A6C0-98BA28C64BA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39" creationId="{9FA0887E-9F07-4A19-0E7F-204C4AFE533D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40" creationId="{85EC53A3-83E1-47B0-7350-2919FE912B5E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42" creationId="{AADBA58B-18F6-157E-F149-5AC25CF7BF84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43" creationId="{EEB6CAFA-6BDB-C82B-2399-913FB6353932}"/>
          </ac:spMkLst>
        </pc:spChg>
        <pc:spChg chg="mod">
          <ac:chgData name="Schäfermeier, Bastian" userId="222eb8a9-5069-4046-88bd-a10549caffd0" providerId="ADAL" clId="{CD807069-DDAC-457A-97A7-358692896444}" dt="2023-06-21T13:42:22.949" v="2986"/>
          <ac:spMkLst>
            <pc:docMk/>
            <pc:sldMk cId="2676757847" sldId="364"/>
            <ac:spMk id="244" creationId="{E96956AD-11DA-0FE2-A64F-2F3C696C0C4D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45" creationId="{9B3B64D8-AF46-FE89-A117-8246955C6CD1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46" creationId="{B7DD98C1-681C-526C-0716-294923E9FCA3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47" creationId="{8FCFB449-D7A5-EEA0-AF35-55A067D60CDF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48" creationId="{24A5D84E-5075-F63E-A4BE-B90485BB1E48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49" creationId="{92B295C8-3761-EC2D-50BD-48E29848EBE0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0" creationId="{16165B92-36BC-00DC-E668-FA820EBEE875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1" creationId="{F5FFADD4-9292-FC34-5F03-FD22F21DA757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2" creationId="{C1C66126-2528-D8DD-0F83-F91DEC8FDF61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3" creationId="{819D1D2C-56CA-E982-5201-3EF695655D63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4" creationId="{2CBCC7D8-17E2-C9ED-C56E-CE615522CBFF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5" creationId="{F57CA8A1-A1E0-26BD-F2FC-2E3E3BF5D4B2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6" creationId="{23042D8C-6834-BFDC-6206-20F22BDCCE73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7" creationId="{9BAB938D-877B-7AAA-7208-527053206237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8" creationId="{2FD91867-A745-15D6-B983-C5CBB42ED44D}"/>
          </ac:spMkLst>
        </pc:spChg>
        <pc:spChg chg="add mod">
          <ac:chgData name="Schäfermeier, Bastian" userId="222eb8a9-5069-4046-88bd-a10549caffd0" providerId="ADAL" clId="{CD807069-DDAC-457A-97A7-358692896444}" dt="2023-06-21T13:42:55.905" v="2995" actId="1076"/>
          <ac:spMkLst>
            <pc:docMk/>
            <pc:sldMk cId="2676757847" sldId="364"/>
            <ac:spMk id="259" creationId="{54C5E809-D19E-888E-CA1A-F78FF9378365}"/>
          </ac:spMkLst>
        </pc:spChg>
        <pc:spChg chg="mod">
          <ac:chgData name="Schäfermeier, Bastian" userId="222eb8a9-5069-4046-88bd-a10549caffd0" providerId="ADAL" clId="{CD807069-DDAC-457A-97A7-358692896444}" dt="2023-06-21T13:43:09.810" v="2996"/>
          <ac:spMkLst>
            <pc:docMk/>
            <pc:sldMk cId="2676757847" sldId="364"/>
            <ac:spMk id="261" creationId="{A08692FF-A9A9-E1F6-0691-0F14761365E8}"/>
          </ac:spMkLst>
        </pc:spChg>
        <pc:spChg chg="mod">
          <ac:chgData name="Schäfermeier, Bastian" userId="222eb8a9-5069-4046-88bd-a10549caffd0" providerId="ADAL" clId="{CD807069-DDAC-457A-97A7-358692896444}" dt="2023-06-21T13:43:09.810" v="2996"/>
          <ac:spMkLst>
            <pc:docMk/>
            <pc:sldMk cId="2676757847" sldId="364"/>
            <ac:spMk id="262" creationId="{FCA4DB52-3297-D53C-6603-D365EB2A05A1}"/>
          </ac:spMkLst>
        </pc:spChg>
        <pc:spChg chg="mod">
          <ac:chgData name="Schäfermeier, Bastian" userId="222eb8a9-5069-4046-88bd-a10549caffd0" providerId="ADAL" clId="{CD807069-DDAC-457A-97A7-358692896444}" dt="2023-06-21T13:43:09.810" v="2996"/>
          <ac:spMkLst>
            <pc:docMk/>
            <pc:sldMk cId="2676757847" sldId="364"/>
            <ac:spMk id="263" creationId="{324DE438-866A-C344-FD71-9D73B93A0C9D}"/>
          </ac:spMkLst>
        </pc:spChg>
        <pc:spChg chg="mod">
          <ac:chgData name="Schäfermeier, Bastian" userId="222eb8a9-5069-4046-88bd-a10549caffd0" providerId="ADAL" clId="{CD807069-DDAC-457A-97A7-358692896444}" dt="2023-06-21T13:43:09.810" v="2996"/>
          <ac:spMkLst>
            <pc:docMk/>
            <pc:sldMk cId="2676757847" sldId="364"/>
            <ac:spMk id="264" creationId="{BAB24BE0-70D3-237F-9AFE-589B559B2F8F}"/>
          </ac:spMkLst>
        </pc:spChg>
        <pc:spChg chg="mod">
          <ac:chgData name="Schäfermeier, Bastian" userId="222eb8a9-5069-4046-88bd-a10549caffd0" providerId="ADAL" clId="{CD807069-DDAC-457A-97A7-358692896444}" dt="2023-06-28T11:16:03.443" v="3608"/>
          <ac:spMkLst>
            <pc:docMk/>
            <pc:sldMk cId="2676757847" sldId="364"/>
            <ac:spMk id="266" creationId="{C529881C-395C-E861-7B40-841A0E21F5B6}"/>
          </ac:spMkLst>
        </pc:spChg>
        <pc:spChg chg="mod">
          <ac:chgData name="Schäfermeier, Bastian" userId="222eb8a9-5069-4046-88bd-a10549caffd0" providerId="ADAL" clId="{CD807069-DDAC-457A-97A7-358692896444}" dt="2023-06-28T11:16:03.443" v="3608"/>
          <ac:spMkLst>
            <pc:docMk/>
            <pc:sldMk cId="2676757847" sldId="364"/>
            <ac:spMk id="267" creationId="{8F3A6D15-1A87-1F54-CD93-437AE97546D3}"/>
          </ac:spMkLst>
        </pc:spChg>
        <pc:spChg chg="mod">
          <ac:chgData name="Schäfermeier, Bastian" userId="222eb8a9-5069-4046-88bd-a10549caffd0" providerId="ADAL" clId="{CD807069-DDAC-457A-97A7-358692896444}" dt="2023-06-28T11:16:03.443" v="3608"/>
          <ac:spMkLst>
            <pc:docMk/>
            <pc:sldMk cId="2676757847" sldId="364"/>
            <ac:spMk id="268" creationId="{65BB94BC-8435-0A73-E61B-C8B1E97CA7BA}"/>
          </ac:spMkLst>
        </pc:spChg>
        <pc:spChg chg="mod">
          <ac:chgData name="Schäfermeier, Bastian" userId="222eb8a9-5069-4046-88bd-a10549caffd0" providerId="ADAL" clId="{CD807069-DDAC-457A-97A7-358692896444}" dt="2023-06-28T11:16:03.443" v="3608"/>
          <ac:spMkLst>
            <pc:docMk/>
            <pc:sldMk cId="2676757847" sldId="364"/>
            <ac:spMk id="269" creationId="{406C4AB4-DBC5-2A14-38B3-F622FBA26FAD}"/>
          </ac:spMkLst>
        </pc:spChg>
        <pc:spChg chg="mod">
          <ac:chgData name="Schäfermeier, Bastian" userId="222eb8a9-5069-4046-88bd-a10549caffd0" providerId="ADAL" clId="{CD807069-DDAC-457A-97A7-358692896444}" dt="2023-06-28T11:16:03.443" v="3608"/>
          <ac:spMkLst>
            <pc:docMk/>
            <pc:sldMk cId="2676757847" sldId="364"/>
            <ac:spMk id="270" creationId="{0D6DE318-CB93-AD82-3430-DAC077D7479F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271" creationId="{E3B68742-EEE1-BEAD-9314-A4DB734597B6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3" creationId="{F8209338-DCD1-C580-3854-DA8B7102B2C0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4" creationId="{8B713DD8-6235-783B-B0D9-02846D51164A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5" creationId="{DEB29CEA-AE3F-DCFF-A23B-1D87D212E87B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6" creationId="{AB854C9D-DE7A-43D0-43AF-B7FD63616473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7" creationId="{A061A479-40A2-02A3-54D2-5CBECC6CE10B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8" creationId="{511E5BAB-793B-2FD2-6B2F-B118AFD211DD}"/>
          </ac:spMkLst>
        </pc:spChg>
        <pc:spChg chg="mod">
          <ac:chgData name="Schäfermeier, Bastian" userId="222eb8a9-5069-4046-88bd-a10549caffd0" providerId="ADAL" clId="{CD807069-DDAC-457A-97A7-358692896444}" dt="2023-06-28T11:16:17.587" v="3612"/>
          <ac:spMkLst>
            <pc:docMk/>
            <pc:sldMk cId="2676757847" sldId="364"/>
            <ac:spMk id="279" creationId="{9F1FA373-9004-7E0D-7909-49B78A2BF4F4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280" creationId="{0C2EAF70-FAB0-08E8-B457-E60F5C5529CC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2" creationId="{D232273E-2223-4903-D631-4D304497DDF7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3" creationId="{0476D0ED-01A8-5481-D22F-CF9625F6E20D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4" creationId="{763A5C0B-3FED-63CF-7A6E-298D2281A86B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5" creationId="{04FC63F6-FE0E-59AE-6B54-FAE2A50D88D6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6" creationId="{83AEAA7A-07E8-771C-553C-96425A202B23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7" creationId="{27FD8685-86A1-2D32-BCF1-945FC511346E}"/>
          </ac:spMkLst>
        </pc:spChg>
        <pc:spChg chg="mod">
          <ac:chgData name="Schäfermeier, Bastian" userId="222eb8a9-5069-4046-88bd-a10549caffd0" providerId="ADAL" clId="{CD807069-DDAC-457A-97A7-358692896444}" dt="2023-06-28T11:17:09.591" v="3693"/>
          <ac:spMkLst>
            <pc:docMk/>
            <pc:sldMk cId="2676757847" sldId="364"/>
            <ac:spMk id="288" creationId="{75814B8C-FD3B-FA93-0DFA-675818C4576C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289" creationId="{E0AD5DD4-287A-5C3D-76B1-A50EAC05D48B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1" creationId="{B5E88D51-73E9-D1D2-E845-C3889688349E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2" creationId="{ACB2E30B-A473-1953-7C57-A67534E3715F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3" creationId="{66E7E11A-8473-EDDB-AFCF-F4112AA0233A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4" creationId="{A8B28620-06D4-CE6D-68F2-55810EB78C68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5" creationId="{3CF1A644-04B9-E166-B521-338B7F612469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6" creationId="{3A6F3A39-30AE-0146-DC80-5C74DDC28662}"/>
          </ac:spMkLst>
        </pc:spChg>
        <pc:spChg chg="mod">
          <ac:chgData name="Schäfermeier, Bastian" userId="222eb8a9-5069-4046-88bd-a10549caffd0" providerId="ADAL" clId="{CD807069-DDAC-457A-97A7-358692896444}" dt="2023-06-28T11:17:23.848" v="3709"/>
          <ac:spMkLst>
            <pc:docMk/>
            <pc:sldMk cId="2676757847" sldId="364"/>
            <ac:spMk id="297" creationId="{35F17082-0413-8027-3EB7-3CD304653D3C}"/>
          </ac:spMkLst>
        </pc:spChg>
        <pc:spChg chg="add mod">
          <ac:chgData name="Schäfermeier, Bastian" userId="222eb8a9-5069-4046-88bd-a10549caffd0" providerId="ADAL" clId="{CD807069-DDAC-457A-97A7-358692896444}" dt="2023-06-28T12:30:48.572" v="4111" actId="208"/>
          <ac:spMkLst>
            <pc:docMk/>
            <pc:sldMk cId="2676757847" sldId="364"/>
            <ac:spMk id="298" creationId="{085049E4-18C9-1B5A-53CA-25CB38FC5156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0" creationId="{23319D79-8201-A20E-340C-E3016F644B5D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1" creationId="{BA1CA8D5-7D25-6399-537E-CA4C8BC87CC2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2" creationId="{B478224D-13BC-64A0-9187-577BDF115423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3" creationId="{980C9A96-D166-0DF4-B9DC-33F7363C04D5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4" creationId="{C81335E4-CC7A-09E6-533E-86438B78DE19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5" creationId="{1B3C06B5-15D8-EDBE-A1E3-8B71B5731245}"/>
          </ac:spMkLst>
        </pc:spChg>
        <pc:spChg chg="mod">
          <ac:chgData name="Schäfermeier, Bastian" userId="222eb8a9-5069-4046-88bd-a10549caffd0" providerId="ADAL" clId="{CD807069-DDAC-457A-97A7-358692896444}" dt="2023-06-28T11:18:05.740" v="3729"/>
          <ac:spMkLst>
            <pc:docMk/>
            <pc:sldMk cId="2676757847" sldId="364"/>
            <ac:spMk id="306" creationId="{C1B5C811-5464-CDF9-2FD7-9568F33A311E}"/>
          </ac:spMkLst>
        </pc:spChg>
        <pc:spChg chg="add mod">
          <ac:chgData name="Schäfermeier, Bastian" userId="222eb8a9-5069-4046-88bd-a10549caffd0" providerId="ADAL" clId="{CD807069-DDAC-457A-97A7-358692896444}" dt="2023-06-28T11:18:34.500" v="3742" actId="1076"/>
          <ac:spMkLst>
            <pc:docMk/>
            <pc:sldMk cId="2676757847" sldId="364"/>
            <ac:spMk id="307" creationId="{72F4B60A-9D9E-E77C-C924-638FDE6EEC7C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09" creationId="{7BD479EA-A0CE-A3C7-C350-928C1D32C160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10" creationId="{D0FB7BBD-770F-7501-67F0-B6585D168091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11" creationId="{89E8014A-FD13-2C35-3749-DA100828BB5C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12" creationId="{CABDE85A-7E75-7596-2BF3-3BC021B5F427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13" creationId="{E5261417-6CE0-DC96-600A-DED5EFD66D8E}"/>
          </ac:spMkLst>
        </pc:spChg>
        <pc:spChg chg="mod">
          <ac:chgData name="Schäfermeier, Bastian" userId="222eb8a9-5069-4046-88bd-a10549caffd0" providerId="ADAL" clId="{CD807069-DDAC-457A-97A7-358692896444}" dt="2023-06-28T11:19:05.306" v="3743"/>
          <ac:spMkLst>
            <pc:docMk/>
            <pc:sldMk cId="2676757847" sldId="364"/>
            <ac:spMk id="314" creationId="{9901211D-9C4F-3978-AF78-BE3EF084579F}"/>
          </ac:spMkLst>
        </pc:spChg>
        <pc:spChg chg="mod">
          <ac:chgData name="Schäfermeier, Bastian" userId="222eb8a9-5069-4046-88bd-a10549caffd0" providerId="ADAL" clId="{CD807069-DDAC-457A-97A7-358692896444}" dt="2023-06-28T11:19:36.182" v="3747"/>
          <ac:spMkLst>
            <pc:docMk/>
            <pc:sldMk cId="2676757847" sldId="364"/>
            <ac:spMk id="316" creationId="{6CF27501-AEE9-72A0-E389-3C5F28EA5EE6}"/>
          </ac:spMkLst>
        </pc:spChg>
        <pc:spChg chg="mod">
          <ac:chgData name="Schäfermeier, Bastian" userId="222eb8a9-5069-4046-88bd-a10549caffd0" providerId="ADAL" clId="{CD807069-DDAC-457A-97A7-358692896444}" dt="2023-06-28T11:19:36.182" v="3747"/>
          <ac:spMkLst>
            <pc:docMk/>
            <pc:sldMk cId="2676757847" sldId="364"/>
            <ac:spMk id="317" creationId="{0E6422AA-6D93-39EB-AADE-29C17695041B}"/>
          </ac:spMkLst>
        </pc:spChg>
        <pc:spChg chg="mod">
          <ac:chgData name="Schäfermeier, Bastian" userId="222eb8a9-5069-4046-88bd-a10549caffd0" providerId="ADAL" clId="{CD807069-DDAC-457A-97A7-358692896444}" dt="2023-06-28T11:19:36.182" v="3747"/>
          <ac:spMkLst>
            <pc:docMk/>
            <pc:sldMk cId="2676757847" sldId="364"/>
            <ac:spMk id="318" creationId="{A1E2A38A-71EE-8706-DF29-EC3491248E7B}"/>
          </ac:spMkLst>
        </pc:spChg>
        <pc:spChg chg="mod">
          <ac:chgData name="Schäfermeier, Bastian" userId="222eb8a9-5069-4046-88bd-a10549caffd0" providerId="ADAL" clId="{CD807069-DDAC-457A-97A7-358692896444}" dt="2023-06-28T11:19:36.182" v="3747"/>
          <ac:spMkLst>
            <pc:docMk/>
            <pc:sldMk cId="2676757847" sldId="364"/>
            <ac:spMk id="319" creationId="{9DFB3C7D-7AA1-F8FE-3940-CF0ECC9E5E8F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1" creationId="{A5932889-56BA-F0A2-05F5-A35549F19307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2" creationId="{FF32CA4F-15A8-67D8-E8A5-67EE5174B1F4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3" creationId="{F31F2DBA-CF0D-143C-FA3E-0182056C13DA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4" creationId="{252C80AC-94A5-5061-16F6-1806D44CBFA5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5" creationId="{83409365-4589-B59E-CA13-5CE8A4C34B99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6" creationId="{3D423BF2-CAE7-74D2-006D-FAB239EFB446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7" creationId="{F9878502-765F-49AE-C12D-8A79A425DB52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8" creationId="{C9F66A0E-C1C4-0AD0-F6EE-1596691B1BC1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29" creationId="{C8300038-C86B-3944-91E1-9FC55767E004}"/>
          </ac:spMkLst>
        </pc:spChg>
        <pc:spChg chg="mod">
          <ac:chgData name="Schäfermeier, Bastian" userId="222eb8a9-5069-4046-88bd-a10549caffd0" providerId="ADAL" clId="{CD807069-DDAC-457A-97A7-358692896444}" dt="2023-06-28T11:20:18.747" v="3750"/>
          <ac:spMkLst>
            <pc:docMk/>
            <pc:sldMk cId="2676757847" sldId="364"/>
            <ac:spMk id="330" creationId="{7050CE4F-B215-79D3-834D-EFB1B90921E8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2" creationId="{83E26651-93AD-D1F3-1CB5-D19DC9E48535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3" creationId="{85CDC31D-05DF-C24E-957B-CD1703E6618E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4" creationId="{894AE445-7D9B-96EB-4B87-ACD68E114EC1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5" creationId="{3F7DB93C-83CD-85E4-6F33-145BE0BD8D76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6" creationId="{4181F531-98B9-0ACE-8EDE-49D9660F079A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7" creationId="{4ECA0558-E33C-C562-E12B-60A3A07CAF8A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8" creationId="{50951DE6-D9FE-1F75-FA50-AF994065A93A}"/>
          </ac:spMkLst>
        </pc:spChg>
        <pc:spChg chg="mod">
          <ac:chgData name="Schäfermeier, Bastian" userId="222eb8a9-5069-4046-88bd-a10549caffd0" providerId="ADAL" clId="{CD807069-DDAC-457A-97A7-358692896444}" dt="2023-06-28T11:44:54.055" v="3755"/>
          <ac:spMkLst>
            <pc:docMk/>
            <pc:sldMk cId="2676757847" sldId="364"/>
            <ac:spMk id="339" creationId="{08E0D015-02EF-DDD9-E7AE-C628376FB46C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1" creationId="{2A7357AE-FCBA-11F0-E777-D25E8032B81A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2" creationId="{1A69D903-CA12-655A-762F-9B251B25FFF2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3" creationId="{729C6865-340E-458E-642E-741BA4E17EC5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4" creationId="{7697A42A-CB66-938E-DDB2-16430B4F5DE6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5" creationId="{7EB66EF7-02C0-4D5B-68A3-F08174347352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6" creationId="{83E2AC81-1BD0-26C0-6D32-DC929B25133F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7" creationId="{E812A045-3C1F-09E8-A437-8C866A9617D7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8" creationId="{F853F4F1-F2B5-A7BD-215B-55488FAF1E3C}"/>
          </ac:spMkLst>
        </pc:spChg>
        <pc:spChg chg="mod">
          <ac:chgData name="Schäfermeier, Bastian" userId="222eb8a9-5069-4046-88bd-a10549caffd0" providerId="ADAL" clId="{CD807069-DDAC-457A-97A7-358692896444}" dt="2023-06-28T11:45:48.741" v="3759"/>
          <ac:spMkLst>
            <pc:docMk/>
            <pc:sldMk cId="2676757847" sldId="364"/>
            <ac:spMk id="349" creationId="{DEC27FD5-89BD-DCB5-5AE5-0027924ED6D5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1" creationId="{933BE31E-D18B-1922-4F1D-17D6E91ECCFE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2" creationId="{083A557E-4AE2-73A0-28AA-007030D4FE25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3" creationId="{16DBE9E0-F1EC-5770-CE00-02FB1759C429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4" creationId="{5AC56167-B8EF-64AC-10B8-9AAEBA98989A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5" creationId="{646CB4DB-D251-716E-92F1-303981761A4C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6" creationId="{D8E7E6E9-A1C1-4FCC-5132-E490133C2B23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7" creationId="{DFCDABBD-A53E-5597-CFB4-5D17288536EA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8" creationId="{6746C75F-EFA0-24FF-57F2-849C8D601776}"/>
          </ac:spMkLst>
        </pc:spChg>
        <pc:spChg chg="mod">
          <ac:chgData name="Schäfermeier, Bastian" userId="222eb8a9-5069-4046-88bd-a10549caffd0" providerId="ADAL" clId="{CD807069-DDAC-457A-97A7-358692896444}" dt="2023-06-28T11:46:02.202" v="3761"/>
          <ac:spMkLst>
            <pc:docMk/>
            <pc:sldMk cId="2676757847" sldId="364"/>
            <ac:spMk id="359" creationId="{ADA3B1E8-5A82-37A0-7588-A118B485718B}"/>
          </ac:spMkLst>
        </pc:spChg>
        <pc:grpChg chg="add del mod">
          <ac:chgData name="Schäfermeier, Bastian" userId="222eb8a9-5069-4046-88bd-a10549caffd0" providerId="ADAL" clId="{CD807069-DDAC-457A-97A7-358692896444}" dt="2023-06-21T13:38:01.107" v="2892"/>
          <ac:grpSpMkLst>
            <pc:docMk/>
            <pc:sldMk cId="2676757847" sldId="364"/>
            <ac:grpSpMk id="12" creationId="{79137969-9088-3B1F-0E42-16A92FFD7621}"/>
          </ac:grpSpMkLst>
        </pc:grpChg>
        <pc:grpChg chg="add mod">
          <ac:chgData name="Schäfermeier, Bastian" userId="222eb8a9-5069-4046-88bd-a10549caffd0" providerId="ADAL" clId="{CD807069-DDAC-457A-97A7-358692896444}" dt="2023-06-21T13:41:54.121" v="2985" actId="1076"/>
          <ac:grpSpMkLst>
            <pc:docMk/>
            <pc:sldMk cId="2676757847" sldId="364"/>
            <ac:grpSpMk id="30" creationId="{079426A5-29BC-AD53-A3BF-84332E7BB305}"/>
          </ac:grpSpMkLst>
        </pc:grpChg>
        <pc:grpChg chg="add del mod">
          <ac:chgData name="Schäfermeier, Bastian" userId="222eb8a9-5069-4046-88bd-a10549caffd0" providerId="ADAL" clId="{CD807069-DDAC-457A-97A7-358692896444}" dt="2023-06-21T13:40:31.881" v="2952"/>
          <ac:grpSpMkLst>
            <pc:docMk/>
            <pc:sldMk cId="2676757847" sldId="364"/>
            <ac:grpSpMk id="38" creationId="{E76E4FA8-800F-075F-9A09-D0D8AF399B77}"/>
          </ac:grpSpMkLst>
        </pc:grpChg>
        <pc:grpChg chg="add del mod">
          <ac:chgData name="Schäfermeier, Bastian" userId="222eb8a9-5069-4046-88bd-a10549caffd0" providerId="ADAL" clId="{CD807069-DDAC-457A-97A7-358692896444}" dt="2023-06-21T13:43:26.409" v="3002" actId="478"/>
          <ac:grpSpMkLst>
            <pc:docMk/>
            <pc:sldMk cId="2676757847" sldId="364"/>
            <ac:grpSpMk id="47" creationId="{21FBB5A5-61E1-A9E1-892A-DD024CF7E7CD}"/>
          </ac:grpSpMkLst>
        </pc:grpChg>
        <pc:grpChg chg="add del mod">
          <ac:chgData name="Schäfermeier, Bastian" userId="222eb8a9-5069-4046-88bd-a10549caffd0" providerId="ADAL" clId="{CD807069-DDAC-457A-97A7-358692896444}" dt="2023-06-28T11:16:08.400" v="3610" actId="478"/>
          <ac:grpSpMkLst>
            <pc:docMk/>
            <pc:sldMk cId="2676757847" sldId="364"/>
            <ac:grpSpMk id="56" creationId="{E7850107-5A1D-BC12-8912-5B8FCD8CB734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65" creationId="{5A1DDB89-0582-D1CE-97F6-DE94937B96AB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69" creationId="{C4C5A5DA-8BCE-C26C-37BC-FDD72CE7CA5E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73" creationId="{745AA1A4-F06E-43A3-63E9-57739A177ED3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76" creationId="{E228E244-7566-ED58-5FF8-CCE219486E97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79" creationId="{8A6BF8FB-DEFB-526A-D167-290000622B2B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82" creationId="{26A40F71-C729-3E62-9F7D-9BB8B8E450C1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85" creationId="{87A5C9AB-D55D-0A1B-429B-51B58DBE5796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90" creationId="{FC826C13-347D-9D67-0F7E-57E94908A9EE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95" creationId="{F60DF346-B2A4-C519-3AAF-74A4181F0B41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02" creationId="{35669551-72F8-C0DC-04C8-B414539CA21D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11" creationId="{97134DAC-B53E-5308-EC01-AA7ACF3CFACE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14" creationId="{CEAA5885-07AC-FAD1-23A5-9D2DD3B8C269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20" creationId="{CE5FA5F7-1B12-A915-1EA9-3C2364E83938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30" creationId="{C89F1919-9DE2-D697-092E-D66AFD802BDA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41" creationId="{7587A23A-6F6B-4054-A6F1-72469222612D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50" creationId="{E23CA3B0-8CBB-E129-6344-C7E619A7C1E4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54" creationId="{928600EC-B569-C5D0-A199-7B2AB276BBC6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187" creationId="{EEBA6582-9EE5-31C4-1AED-EFD0CA395E62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09" creationId="{6FC2F72B-27D4-8BE3-6670-1061F697888E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20" creationId="{4390CD5B-9680-9611-39C6-35528DF4E888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27" creationId="{4CED978B-982B-2054-48BD-3BAB655CAC0D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31" creationId="{883499EB-A4FA-C7F8-B3A0-AFE2BD40370F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34" creationId="{51741E49-2A56-1F52-DAA7-497835299695}"/>
          </ac:grpSpMkLst>
        </pc:grpChg>
        <pc:grpChg chg="add mod">
          <ac:chgData name="Schäfermeier, Bastian" userId="222eb8a9-5069-4046-88bd-a10549caffd0" providerId="ADAL" clId="{CD807069-DDAC-457A-97A7-358692896444}" dt="2023-06-21T13:42:55.905" v="2995" actId="1076"/>
          <ac:grpSpMkLst>
            <pc:docMk/>
            <pc:sldMk cId="2676757847" sldId="364"/>
            <ac:grpSpMk id="241" creationId="{8AA85DF9-75AF-41FC-931A-2B3246BA956E}"/>
          </ac:grpSpMkLst>
        </pc:grpChg>
        <pc:grpChg chg="add mod">
          <ac:chgData name="Schäfermeier, Bastian" userId="222eb8a9-5069-4046-88bd-a10549caffd0" providerId="ADAL" clId="{CD807069-DDAC-457A-97A7-358692896444}" dt="2023-06-21T13:43:31.075" v="3003" actId="1076"/>
          <ac:grpSpMkLst>
            <pc:docMk/>
            <pc:sldMk cId="2676757847" sldId="364"/>
            <ac:grpSpMk id="260" creationId="{3005D55B-BE53-95EF-74AB-72A3CD582EB9}"/>
          </ac:grpSpMkLst>
        </pc:grpChg>
        <pc:grpChg chg="add mod">
          <ac:chgData name="Schäfermeier, Bastian" userId="222eb8a9-5069-4046-88bd-a10549caffd0" providerId="ADAL" clId="{CD807069-DDAC-457A-97A7-358692896444}" dt="2023-06-28T11:16:11.737" v="3611" actId="1076"/>
          <ac:grpSpMkLst>
            <pc:docMk/>
            <pc:sldMk cId="2676757847" sldId="364"/>
            <ac:grpSpMk id="265" creationId="{2F8D08CC-15E4-51BF-61EA-F5F80B4ABFE5}"/>
          </ac:grpSpMkLst>
        </pc:grpChg>
        <pc:grpChg chg="add del mod">
          <ac:chgData name="Schäfermeier, Bastian" userId="222eb8a9-5069-4046-88bd-a10549caffd0" providerId="ADAL" clId="{CD807069-DDAC-457A-97A7-358692896444}" dt="2023-06-28T11:46:08.814" v="3763" actId="478"/>
          <ac:grpSpMkLst>
            <pc:docMk/>
            <pc:sldMk cId="2676757847" sldId="364"/>
            <ac:grpSpMk id="272" creationId="{D6001D63-8E4D-02F6-5DC4-DE122A0533F6}"/>
          </ac:grpSpMkLst>
        </pc:grpChg>
        <pc:grpChg chg="add del mod">
          <ac:chgData name="Schäfermeier, Bastian" userId="222eb8a9-5069-4046-88bd-a10549caffd0" providerId="ADAL" clId="{CD807069-DDAC-457A-97A7-358692896444}" dt="2023-06-28T11:44:59.111" v="3757" actId="478"/>
          <ac:grpSpMkLst>
            <pc:docMk/>
            <pc:sldMk cId="2676757847" sldId="364"/>
            <ac:grpSpMk id="281" creationId="{0F4F3EE0-B91F-D2D5-C3E9-67316A0351AF}"/>
          </ac:grpSpMkLst>
        </pc:grpChg>
        <pc:grpChg chg="add del mod">
          <ac:chgData name="Schäfermeier, Bastian" userId="222eb8a9-5069-4046-88bd-a10549caffd0" providerId="ADAL" clId="{CD807069-DDAC-457A-97A7-358692896444}" dt="2023-06-28T11:19:09.122" v="3745" actId="478"/>
          <ac:grpSpMkLst>
            <pc:docMk/>
            <pc:sldMk cId="2676757847" sldId="364"/>
            <ac:grpSpMk id="290" creationId="{C13F220E-CBCE-BFA9-2424-CF7D2549EF1A}"/>
          </ac:grpSpMkLst>
        </pc:grpChg>
        <pc:grpChg chg="add del mod">
          <ac:chgData name="Schäfermeier, Bastian" userId="222eb8a9-5069-4046-88bd-a10549caffd0" providerId="ADAL" clId="{CD807069-DDAC-457A-97A7-358692896444}" dt="2023-06-28T11:18:30.984" v="3741" actId="478"/>
          <ac:grpSpMkLst>
            <pc:docMk/>
            <pc:sldMk cId="2676757847" sldId="364"/>
            <ac:grpSpMk id="299" creationId="{8D6211F0-4EA5-75F8-6867-DA5177D62C77}"/>
          </ac:grpSpMkLst>
        </pc:grpChg>
        <pc:grpChg chg="add del mod">
          <ac:chgData name="Schäfermeier, Bastian" userId="222eb8a9-5069-4046-88bd-a10549caffd0" providerId="ADAL" clId="{CD807069-DDAC-457A-97A7-358692896444}" dt="2023-06-28T11:20:23.305" v="3752" actId="478"/>
          <ac:grpSpMkLst>
            <pc:docMk/>
            <pc:sldMk cId="2676757847" sldId="364"/>
            <ac:grpSpMk id="308" creationId="{6E4659C0-E563-0D58-8848-9BDC8A8D60C4}"/>
          </ac:grpSpMkLst>
        </pc:grpChg>
        <pc:grpChg chg="add del mod">
          <ac:chgData name="Schäfermeier, Bastian" userId="222eb8a9-5069-4046-88bd-a10549caffd0" providerId="ADAL" clId="{CD807069-DDAC-457A-97A7-358692896444}" dt="2023-06-28T11:20:00.850" v="3749" actId="478"/>
          <ac:grpSpMkLst>
            <pc:docMk/>
            <pc:sldMk cId="2676757847" sldId="364"/>
            <ac:grpSpMk id="315" creationId="{E85AD1C3-E488-2D7D-0C3A-7EB908549FEE}"/>
          </ac:grpSpMkLst>
        </pc:grpChg>
        <pc:grpChg chg="add mod">
          <ac:chgData name="Schäfermeier, Bastian" userId="222eb8a9-5069-4046-88bd-a10549caffd0" providerId="ADAL" clId="{CD807069-DDAC-457A-97A7-358692896444}" dt="2023-06-28T11:20:31.150" v="3754" actId="1076"/>
          <ac:grpSpMkLst>
            <pc:docMk/>
            <pc:sldMk cId="2676757847" sldId="364"/>
            <ac:grpSpMk id="320" creationId="{7DE82E2C-C330-8BB5-A188-6C7122134557}"/>
          </ac:grpSpMkLst>
        </pc:grpChg>
        <pc:grpChg chg="add mod">
          <ac:chgData name="Schäfermeier, Bastian" userId="222eb8a9-5069-4046-88bd-a10549caffd0" providerId="ADAL" clId="{CD807069-DDAC-457A-97A7-358692896444}" dt="2023-06-28T11:45:03.966" v="3758" actId="1076"/>
          <ac:grpSpMkLst>
            <pc:docMk/>
            <pc:sldMk cId="2676757847" sldId="364"/>
            <ac:grpSpMk id="331" creationId="{ABF46EA6-B751-19FB-4ED4-043B03F87F62}"/>
          </ac:grpSpMkLst>
        </pc:grpChg>
        <pc:grpChg chg="add del mod">
          <ac:chgData name="Schäfermeier, Bastian" userId="222eb8a9-5069-4046-88bd-a10549caffd0" providerId="ADAL" clId="{CD807069-DDAC-457A-97A7-358692896444}" dt="2023-06-28T11:45:58.106" v="3760"/>
          <ac:grpSpMkLst>
            <pc:docMk/>
            <pc:sldMk cId="2676757847" sldId="364"/>
            <ac:grpSpMk id="340" creationId="{4F07E826-C7DD-27F8-9AC3-D574FBBD19D8}"/>
          </ac:grpSpMkLst>
        </pc:grpChg>
        <pc:grpChg chg="add mod">
          <ac:chgData name="Schäfermeier, Bastian" userId="222eb8a9-5069-4046-88bd-a10549caffd0" providerId="ADAL" clId="{CD807069-DDAC-457A-97A7-358692896444}" dt="2023-06-28T11:46:15.004" v="3764" actId="1076"/>
          <ac:grpSpMkLst>
            <pc:docMk/>
            <pc:sldMk cId="2676757847" sldId="364"/>
            <ac:grpSpMk id="350" creationId="{308EC301-3BBB-9145-29EC-B2B3351AADD0}"/>
          </ac:grpSpMkLst>
        </pc:grpChg>
        <pc:picChg chg="del mod">
          <ac:chgData name="Schäfermeier, Bastian" userId="222eb8a9-5069-4046-88bd-a10549caffd0" providerId="ADAL" clId="{CD807069-DDAC-457A-97A7-358692896444}" dt="2023-06-21T13:40:54.946" v="2957" actId="478"/>
          <ac:picMkLst>
            <pc:docMk/>
            <pc:sldMk cId="2676757847" sldId="364"/>
            <ac:picMk id="16" creationId="{891F5616-DA4E-4DD5-9CEF-225352DCEB7F}"/>
          </ac:picMkLst>
        </pc:picChg>
        <pc:picChg chg="del mod">
          <ac:chgData name="Schäfermeier, Bastian" userId="222eb8a9-5069-4046-88bd-a10549caffd0" providerId="ADAL" clId="{CD807069-DDAC-457A-97A7-358692896444}" dt="2023-06-21T13:40:21.687" v="2947" actId="478"/>
          <ac:picMkLst>
            <pc:docMk/>
            <pc:sldMk cId="2676757847" sldId="364"/>
            <ac:picMk id="19" creationId="{8091DF32-5E16-4432-AB6F-9476832517BF}"/>
          </ac:picMkLst>
        </pc:picChg>
        <pc:picChg chg="del">
          <ac:chgData name="Schäfermeier, Bastian" userId="222eb8a9-5069-4046-88bd-a10549caffd0" providerId="ADAL" clId="{CD807069-DDAC-457A-97A7-358692896444}" dt="2023-06-21T13:40:54.946" v="2957" actId="478"/>
          <ac:picMkLst>
            <pc:docMk/>
            <pc:sldMk cId="2676757847" sldId="364"/>
            <ac:picMk id="26" creationId="{39476098-ACEA-482F-947B-FE18EDE5DFFD}"/>
          </ac:picMkLst>
        </pc:picChg>
        <pc:picChg chg="del">
          <ac:chgData name="Schäfermeier, Bastian" userId="222eb8a9-5069-4046-88bd-a10549caffd0" providerId="ADAL" clId="{CD807069-DDAC-457A-97A7-358692896444}" dt="2023-06-21T13:40:54.946" v="2957" actId="478"/>
          <ac:picMkLst>
            <pc:docMk/>
            <pc:sldMk cId="2676757847" sldId="364"/>
            <ac:picMk id="27" creationId="{636BF3D1-A08C-4E29-A666-45D0B8DFF88F}"/>
          </ac:picMkLst>
        </pc:picChg>
      </pc:sldChg>
      <pc:sldChg chg="modSp add del mod">
        <pc:chgData name="Schäfermeier, Bastian" userId="222eb8a9-5069-4046-88bd-a10549caffd0" providerId="ADAL" clId="{CD807069-DDAC-457A-97A7-358692896444}" dt="2023-06-21T13:34:25.791" v="2867"/>
        <pc:sldMkLst>
          <pc:docMk/>
          <pc:sldMk cId="4077869396" sldId="364"/>
        </pc:sldMkLst>
        <pc:spChg chg="mod">
          <ac:chgData name="Schäfermeier, Bastian" userId="222eb8a9-5069-4046-88bd-a10549caffd0" providerId="ADAL" clId="{CD807069-DDAC-457A-97A7-358692896444}" dt="2023-06-21T13:34:25.387" v="2866" actId="20577"/>
          <ac:spMkLst>
            <pc:docMk/>
            <pc:sldMk cId="4077869396" sldId="364"/>
            <ac:spMk id="7" creationId="{22464388-2ECA-4EEA-8E18-9F2C9F7BAE36}"/>
          </ac:spMkLst>
        </pc:spChg>
      </pc:sldChg>
      <pc:sldChg chg="add del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990840052" sldId="365"/>
        </pc:sldMkLst>
      </pc:sldChg>
      <pc:sldChg chg="add del">
        <pc:chgData name="Schäfermeier, Bastian" userId="222eb8a9-5069-4046-88bd-a10549caffd0" providerId="ADAL" clId="{CD807069-DDAC-457A-97A7-358692896444}" dt="2023-06-21T13:39:24.386" v="2913"/>
        <pc:sldMkLst>
          <pc:docMk/>
          <pc:sldMk cId="1382715762" sldId="366"/>
        </pc:sldMkLst>
      </pc:sldChg>
      <pc:sldChg chg="delSp modSp add del mod ord">
        <pc:chgData name="Schäfermeier, Bastian" userId="222eb8a9-5069-4046-88bd-a10549caffd0" providerId="ADAL" clId="{CD807069-DDAC-457A-97A7-358692896444}" dt="2023-06-28T11:48:15.244" v="3774" actId="47"/>
        <pc:sldMkLst>
          <pc:docMk/>
          <pc:sldMk cId="3442850592" sldId="366"/>
        </pc:sldMkLst>
        <pc:spChg chg="mod">
          <ac:chgData name="Schäfermeier, Bastian" userId="222eb8a9-5069-4046-88bd-a10549caffd0" providerId="ADAL" clId="{CD807069-DDAC-457A-97A7-358692896444}" dt="2023-06-28T09:45:03.084" v="3416" actId="20577"/>
          <ac:spMkLst>
            <pc:docMk/>
            <pc:sldMk cId="3442850592" sldId="366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CD807069-DDAC-457A-97A7-358692896444}" dt="2023-06-28T09:44:16.918" v="3407" actId="20577"/>
          <ac:spMkLst>
            <pc:docMk/>
            <pc:sldMk cId="3442850592" sldId="366"/>
            <ac:spMk id="7" creationId="{22464388-2ECA-4EEA-8E18-9F2C9F7BAE36}"/>
          </ac:spMkLst>
        </pc:spChg>
        <pc:spChg chg="del mod">
          <ac:chgData name="Schäfermeier, Bastian" userId="222eb8a9-5069-4046-88bd-a10549caffd0" providerId="ADAL" clId="{CD807069-DDAC-457A-97A7-358692896444}" dt="2023-06-28T09:44:06.165" v="3404" actId="478"/>
          <ac:spMkLst>
            <pc:docMk/>
            <pc:sldMk cId="3442850592" sldId="366"/>
            <ac:spMk id="12" creationId="{1D2C5EAF-062B-0A90-F65C-9CED0F17A6EF}"/>
          </ac:spMkLst>
        </pc:spChg>
      </pc:sldChg>
      <pc:sldChg chg="addSp delSp modSp add del mod ord modShow">
        <pc:chgData name="Schäfermeier, Bastian" userId="222eb8a9-5069-4046-88bd-a10549caffd0" providerId="ADAL" clId="{CD807069-DDAC-457A-97A7-358692896444}" dt="2023-07-11T15:01:15.990" v="8109" actId="47"/>
        <pc:sldMkLst>
          <pc:docMk/>
          <pc:sldMk cId="1890174727" sldId="367"/>
        </pc:sldMkLst>
        <pc:spChg chg="mod">
          <ac:chgData name="Schäfermeier, Bastian" userId="222eb8a9-5069-4046-88bd-a10549caffd0" providerId="ADAL" clId="{CD807069-DDAC-457A-97A7-358692896444}" dt="2023-06-28T17:02:57.104" v="7252" actId="20577"/>
          <ac:spMkLst>
            <pc:docMk/>
            <pc:sldMk cId="1890174727" sldId="367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CD807069-DDAC-457A-97A7-358692896444}" dt="2023-06-28T14:18:30.216" v="5310" actId="20577"/>
          <ac:spMkLst>
            <pc:docMk/>
            <pc:sldMk cId="1890174727" sldId="367"/>
            <ac:spMk id="7" creationId="{22464388-2ECA-4EEA-8E18-9F2C9F7BAE36}"/>
          </ac:spMkLst>
        </pc:spChg>
        <pc:spChg chg="mod">
          <ac:chgData name="Schäfermeier, Bastian" userId="222eb8a9-5069-4046-88bd-a10549caffd0" providerId="ADAL" clId="{CD807069-DDAC-457A-97A7-358692896444}" dt="2023-06-28T16:55:54.047" v="7176" actId="20577"/>
          <ac:spMkLst>
            <pc:docMk/>
            <pc:sldMk cId="1890174727" sldId="367"/>
            <ac:spMk id="15" creationId="{9175E41B-8D90-4B9C-AA0C-02FF09B533AA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0" creationId="{2C0B9065-21EC-3A16-4F39-5F71CEDC570D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1" creationId="{240DE9CE-6AC9-1888-E4C2-4213E0FFE238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2" creationId="{37777D46-0C3F-0B3C-23BC-65336EEB99F3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3" creationId="{8F6D307B-907C-6C52-3389-B345BF24961E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4" creationId="{0A91C0FF-C7D4-CE22-E138-2566B7E6AD19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5" creationId="{15DC9BF2-03A1-EEB8-835C-B819534BDFA7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6" creationId="{8C7AC482-127A-62CB-25CD-0B18A26D3996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7" creationId="{6BCAFC83-CE6E-3A30-F664-5725E48073D4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8" creationId="{32D6140E-7FEE-D5A1-F957-A3E6C5AA1D6A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29" creationId="{607718DE-753B-7772-1536-7262B9132676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0" creationId="{EB5BEBC1-FD91-E324-4FB2-74BF03EA184E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1" creationId="{305A051E-18AB-9323-38A4-E5608B267BFC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2" creationId="{1593693C-DAD5-99E1-D040-12F32D4EB987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3" creationId="{1798D9C1-300C-65DF-29B6-D70A610E3EC9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4" creationId="{F8B51B13-D6FA-A13A-D067-C17E2D6A9D90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5" creationId="{71B24F65-2DE3-6EDC-B03A-A9B2667A3D66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6" creationId="{0914EF32-DAEC-5C54-22F1-240C4ABA584A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7" creationId="{0B16607A-B624-04A2-2124-20230C696B37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8" creationId="{E2F33914-C672-4453-7FB4-BF8C06E91562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39" creationId="{45233E61-CE32-4879-4B27-B7EF833A63CA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1" creationId="{99C74522-F9AA-36DF-6B13-F0190BA1C49A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2" creationId="{A27C54E6-9AA8-2AB9-B6C8-DF25A44FD304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5" creationId="{A7B8080E-10C2-F503-4E92-8F6F64E74052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6" creationId="{D2FA8A17-C23E-5528-E4A7-D0F439240850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7" creationId="{96517FDC-B5D0-A90E-C12C-7A29CE795147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8" creationId="{6054A654-045A-C975-E648-58BC16E2E167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49" creationId="{5099EBB5-BBEE-14E8-A7FE-FD175027882F}"/>
          </ac:spMkLst>
        </pc:spChg>
        <pc:spChg chg="add mod">
          <ac:chgData name="Schäfermeier, Bastian" userId="222eb8a9-5069-4046-88bd-a10549caffd0" providerId="ADAL" clId="{CD807069-DDAC-457A-97A7-358692896444}" dt="2023-06-28T15:00:49.855" v="5722"/>
          <ac:spMkLst>
            <pc:docMk/>
            <pc:sldMk cId="1890174727" sldId="367"/>
            <ac:spMk id="50" creationId="{0CD0CBDE-9167-5789-2C7A-EF0864353603}"/>
          </ac:spMkLst>
        </pc:spChg>
        <pc:picChg chg="add del mod">
          <ac:chgData name="Schäfermeier, Bastian" userId="222eb8a9-5069-4046-88bd-a10549caffd0" providerId="ADAL" clId="{CD807069-DDAC-457A-97A7-358692896444}" dt="2023-06-28T16:25:28.588" v="7094" actId="478"/>
          <ac:picMkLst>
            <pc:docMk/>
            <pc:sldMk cId="1890174727" sldId="367"/>
            <ac:picMk id="53" creationId="{08490995-1A4B-1118-0934-B425E461ECCE}"/>
          </ac:picMkLst>
        </pc:picChg>
        <pc:picChg chg="add mod">
          <ac:chgData name="Schäfermeier, Bastian" userId="222eb8a9-5069-4046-88bd-a10549caffd0" providerId="ADAL" clId="{CD807069-DDAC-457A-97A7-358692896444}" dt="2023-06-28T16:31:16.008" v="7140" actId="1076"/>
          <ac:picMkLst>
            <pc:docMk/>
            <pc:sldMk cId="1890174727" sldId="367"/>
            <ac:picMk id="55" creationId="{CA2C2EF6-DDBF-C47C-3119-5A9690C7BFB2}"/>
          </ac:picMkLst>
        </pc:picChg>
        <pc:picChg chg="add mod ord modCrop">
          <ac:chgData name="Schäfermeier, Bastian" userId="222eb8a9-5069-4046-88bd-a10549caffd0" providerId="ADAL" clId="{CD807069-DDAC-457A-97A7-358692896444}" dt="2023-06-28T16:32:43.485" v="7148" actId="1076"/>
          <ac:picMkLst>
            <pc:docMk/>
            <pc:sldMk cId="1890174727" sldId="367"/>
            <ac:picMk id="57" creationId="{F34E7906-D51F-4073-8DEB-C55907BD1CEA}"/>
          </ac:picMkLst>
        </pc:picChg>
        <pc:picChg chg="add mod">
          <ac:chgData name="Schäfermeier, Bastian" userId="222eb8a9-5069-4046-88bd-a10549caffd0" providerId="ADAL" clId="{CD807069-DDAC-457A-97A7-358692896444}" dt="2023-06-28T16:31:16.008" v="7140" actId="1076"/>
          <ac:picMkLst>
            <pc:docMk/>
            <pc:sldMk cId="1890174727" sldId="367"/>
            <ac:picMk id="59" creationId="{9D3459F2-066A-DC7F-AEE4-087ADBC18925}"/>
          </ac:picMkLst>
        </pc:picChg>
        <pc:picChg chg="add del mod">
          <ac:chgData name="Schäfermeier, Bastian" userId="222eb8a9-5069-4046-88bd-a10549caffd0" providerId="ADAL" clId="{CD807069-DDAC-457A-97A7-358692896444}" dt="2023-06-28T16:32:10.661" v="7142" actId="478"/>
          <ac:picMkLst>
            <pc:docMk/>
            <pc:sldMk cId="1890174727" sldId="367"/>
            <ac:picMk id="61" creationId="{B10FC1AB-7337-7C0C-16B7-B234453C389A}"/>
          </ac:picMkLst>
        </pc:picChg>
        <pc:picChg chg="add mod">
          <ac:chgData name="Schäfermeier, Bastian" userId="222eb8a9-5069-4046-88bd-a10549caffd0" providerId="ADAL" clId="{CD807069-DDAC-457A-97A7-358692896444}" dt="2023-06-28T16:32:35.855" v="7146" actId="14100"/>
          <ac:picMkLst>
            <pc:docMk/>
            <pc:sldMk cId="1890174727" sldId="367"/>
            <ac:picMk id="63" creationId="{2D833A1C-2F2A-7969-8A98-35EA425E974A}"/>
          </ac:picMkLst>
        </pc:pic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5" creationId="{81A29FCC-7CF9-B600-2C05-4B8FCD3C34E9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8" creationId="{46E89946-236B-278A-67DD-ECC305B22754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0" creationId="{8479A542-0717-B6D5-175B-497A82A8464A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1" creationId="{17E20040-52C1-5DEE-2509-3C976F49A98A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2" creationId="{F782478A-3EBB-38B4-48DA-221214D790D7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3" creationId="{BEC456CC-626C-12E8-D643-BD68C98E1FCC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4" creationId="{3172F9E9-5688-864A-48FA-88BC98A3AD48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6" creationId="{D60419E9-4467-8DDD-3271-629A70EC63F2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7" creationId="{BD686D3F-B556-4F50-DB64-7A2C8C107877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8" creationId="{434DF23F-F68B-7667-AC93-6906A730A34B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19" creationId="{4C6901C3-F39E-5ED5-ABEF-5642FB7485FB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40" creationId="{76C42182-FA43-C339-07CF-E94BE3A577FB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43" creationId="{95ABB815-7D42-8B63-BC28-EBD6AC4AB313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44" creationId="{BA6DE179-C5B0-8407-F18E-D0435EB79010}"/>
          </ac:cxnSpMkLst>
        </pc:cxnChg>
        <pc:cxnChg chg="add mod">
          <ac:chgData name="Schäfermeier, Bastian" userId="222eb8a9-5069-4046-88bd-a10549caffd0" providerId="ADAL" clId="{CD807069-DDAC-457A-97A7-358692896444}" dt="2023-06-28T15:00:49.855" v="5722"/>
          <ac:cxnSpMkLst>
            <pc:docMk/>
            <pc:sldMk cId="1890174727" sldId="367"/>
            <ac:cxnSpMk id="51" creationId="{DC2FC9D1-DB71-7EC4-58E3-EBD29F0D87DD}"/>
          </ac:cxnSpMkLst>
        </pc:cxnChg>
      </pc:sldChg>
      <pc:sldChg chg="add del">
        <pc:chgData name="Schäfermeier, Bastian" userId="222eb8a9-5069-4046-88bd-a10549caffd0" providerId="ADAL" clId="{CD807069-DDAC-457A-97A7-358692896444}" dt="2023-06-28T09:44:11.488" v="3406"/>
        <pc:sldMkLst>
          <pc:docMk/>
          <pc:sldMk cId="2149552446" sldId="367"/>
        </pc:sldMkLst>
      </pc:sldChg>
      <pc:sldChg chg="addSp delSp modSp add del mod modShow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398368462" sldId="368"/>
        </pc:sldMkLst>
        <pc:spChg chg="del mod">
          <ac:chgData name="Schäfermeier, Bastian" userId="222eb8a9-5069-4046-88bd-a10549caffd0" providerId="ADAL" clId="{CD807069-DDAC-457A-97A7-358692896444}" dt="2023-06-28T14:02:45.818" v="5010" actId="478"/>
          <ac:spMkLst>
            <pc:docMk/>
            <pc:sldMk cId="398368462" sldId="368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CD807069-DDAC-457A-97A7-358692896444}" dt="2023-06-28T14:04:49.821" v="5117" actId="20577"/>
          <ac:spMkLst>
            <pc:docMk/>
            <pc:sldMk cId="398368462" sldId="368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CD807069-DDAC-457A-97A7-358692896444}" dt="2023-06-28T14:02:48.638" v="5011" actId="478"/>
          <ac:spMkLst>
            <pc:docMk/>
            <pc:sldMk cId="398368462" sldId="368"/>
            <ac:spMk id="11" creationId="{4D5BDC33-7F45-0992-38FC-A743672C5C8D}"/>
          </ac:spMkLst>
        </pc:spChg>
        <pc:spChg chg="mod">
          <ac:chgData name="Schäfermeier, Bastian" userId="222eb8a9-5069-4046-88bd-a10549caffd0" providerId="ADAL" clId="{CD807069-DDAC-457A-97A7-358692896444}" dt="2023-06-28T14:33:08.847" v="5610" actId="20577"/>
          <ac:spMkLst>
            <pc:docMk/>
            <pc:sldMk cId="398368462" sldId="368"/>
            <ac:spMk id="15" creationId="{9175E41B-8D90-4B9C-AA0C-02FF09B533AA}"/>
          </ac:spMkLst>
        </pc:spChg>
        <pc:picChg chg="add mod">
          <ac:chgData name="Schäfermeier, Bastian" userId="222eb8a9-5069-4046-88bd-a10549caffd0" providerId="ADAL" clId="{CD807069-DDAC-457A-97A7-358692896444}" dt="2023-06-28T14:04:06.367" v="5032" actId="1076"/>
          <ac:picMkLst>
            <pc:docMk/>
            <pc:sldMk cId="398368462" sldId="368"/>
            <ac:picMk id="8" creationId="{D272667E-3609-9739-52F6-DD39D1CD8FD7}"/>
          </ac:picMkLst>
        </pc:picChg>
      </pc:sldChg>
      <pc:sldChg chg="addSp delSp modSp add mod ord">
        <pc:chgData name="Schäfermeier, Bastian" userId="222eb8a9-5069-4046-88bd-a10549caffd0" providerId="ADAL" clId="{CD807069-DDAC-457A-97A7-358692896444}" dt="2023-07-14T14:14:39.840" v="11400"/>
        <pc:sldMkLst>
          <pc:docMk/>
          <pc:sldMk cId="2493193062" sldId="369"/>
        </pc:sldMkLst>
        <pc:spChg chg="add mod">
          <ac:chgData name="Schäfermeier, Bastian" userId="222eb8a9-5069-4046-88bd-a10549caffd0" providerId="ADAL" clId="{CD807069-DDAC-457A-97A7-358692896444}" dt="2023-06-28T13:38:57.057" v="4821" actId="207"/>
          <ac:spMkLst>
            <pc:docMk/>
            <pc:sldMk cId="2493193062" sldId="369"/>
            <ac:spMk id="2" creationId="{C8B45B4F-708E-6A1D-1330-C31EC7962044}"/>
          </ac:spMkLst>
        </pc:spChg>
        <pc:spChg chg="mod">
          <ac:chgData name="Schäfermeier, Bastian" userId="222eb8a9-5069-4046-88bd-a10549caffd0" providerId="ADAL" clId="{CD807069-DDAC-457A-97A7-358692896444}" dt="2023-06-28T13:40:09.028" v="4830" actId="20577"/>
          <ac:spMkLst>
            <pc:docMk/>
            <pc:sldMk cId="2493193062" sldId="369"/>
            <ac:spMk id="7" creationId="{22464388-2ECA-4EEA-8E18-9F2C9F7BAE36}"/>
          </ac:spMkLst>
        </pc:spChg>
        <pc:spChg chg="mod">
          <ac:chgData name="Schäfermeier, Bastian" userId="222eb8a9-5069-4046-88bd-a10549caffd0" providerId="ADAL" clId="{CD807069-DDAC-457A-97A7-358692896444}" dt="2023-06-28T15:05:33.126" v="5840" actId="20577"/>
          <ac:spMkLst>
            <pc:docMk/>
            <pc:sldMk cId="2493193062" sldId="369"/>
            <ac:spMk id="13" creationId="{000114BA-C51D-DF92-63E9-463F201F4738}"/>
          </ac:spMkLst>
        </pc:spChg>
        <pc:spChg chg="mod">
          <ac:chgData name="Schäfermeier, Bastian" userId="222eb8a9-5069-4046-88bd-a10549caffd0" providerId="ADAL" clId="{CD807069-DDAC-457A-97A7-358692896444}" dt="2023-06-28T16:15:45.045" v="6829" actId="20577"/>
          <ac:spMkLst>
            <pc:docMk/>
            <pc:sldMk cId="2493193062" sldId="369"/>
            <ac:spMk id="14" creationId="{4F656FE6-04FD-F6B6-0A96-C6170AC4F388}"/>
          </ac:spMkLst>
        </pc:spChg>
        <pc:spChg chg="mod">
          <ac:chgData name="Schäfermeier, Bastian" userId="222eb8a9-5069-4046-88bd-a10549caffd0" providerId="ADAL" clId="{CD807069-DDAC-457A-97A7-358692896444}" dt="2023-06-28T13:38:23.308" v="4818" actId="207"/>
          <ac:spMkLst>
            <pc:docMk/>
            <pc:sldMk cId="2493193062" sldId="369"/>
            <ac:spMk id="17" creationId="{6697655D-C706-FAD1-B062-C4F9C660E7C4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29" creationId="{B1ABFDC2-9AF3-BEFC-A61D-F67051DEBA86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33" creationId="{A8990078-C29A-0191-E4DA-EF73EC9EA2A9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37" creationId="{CB884E44-4F3E-3757-0A94-53D3074894CD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43" creationId="{1C000CD4-D275-1B25-1F97-12BFF24A4590}"/>
          </ac:spMkLst>
        </pc:spChg>
        <pc:spChg chg="add del">
          <ac:chgData name="Schäfermeier, Bastian" userId="222eb8a9-5069-4046-88bd-a10549caffd0" providerId="ADAL" clId="{CD807069-DDAC-457A-97A7-358692896444}" dt="2023-06-28T13:01:00.148" v="4378" actId="11529"/>
          <ac:spMkLst>
            <pc:docMk/>
            <pc:sldMk cId="2493193062" sldId="369"/>
            <ac:spMk id="46" creationId="{FE77781C-5852-AFC3-DBF1-EAB095DB8D19}"/>
          </ac:spMkLst>
        </pc:spChg>
        <pc:spChg chg="del mod">
          <ac:chgData name="Schäfermeier, Bastian" userId="222eb8a9-5069-4046-88bd-a10549caffd0" providerId="ADAL" clId="{CD807069-DDAC-457A-97A7-358692896444}" dt="2023-06-28T13:01:26.893" v="4389" actId="478"/>
          <ac:spMkLst>
            <pc:docMk/>
            <pc:sldMk cId="2493193062" sldId="369"/>
            <ac:spMk id="47" creationId="{11BBD8D6-C1B9-B04B-D871-BFC368BC9577}"/>
          </ac:spMkLst>
        </pc:spChg>
        <pc:spChg chg="add mod">
          <ac:chgData name="Schäfermeier, Bastian" userId="222eb8a9-5069-4046-88bd-a10549caffd0" providerId="ADAL" clId="{CD807069-DDAC-457A-97A7-358692896444}" dt="2023-06-28T13:38:23.308" v="4818" actId="207"/>
          <ac:spMkLst>
            <pc:docMk/>
            <pc:sldMk cId="2493193062" sldId="369"/>
            <ac:spMk id="48" creationId="{EDD89B1A-5753-5395-58A2-6F8916C116BE}"/>
          </ac:spMkLst>
        </pc:spChg>
        <pc:spChg chg="mod">
          <ac:chgData name="Schäfermeier, Bastian" userId="222eb8a9-5069-4046-88bd-a10549caffd0" providerId="ADAL" clId="{CD807069-DDAC-457A-97A7-358692896444}" dt="2023-06-28T13:38:57.057" v="4821" actId="207"/>
          <ac:spMkLst>
            <pc:docMk/>
            <pc:sldMk cId="2493193062" sldId="369"/>
            <ac:spMk id="57" creationId="{9AC34466-D6F9-68D7-57C5-5BB07D44A7C9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59" creationId="{2C3C7944-497D-7F87-6F6E-A23D200BB631}"/>
          </ac:spMkLst>
        </pc:spChg>
        <pc:spChg chg="add del mod">
          <ac:chgData name="Schäfermeier, Bastian" userId="222eb8a9-5069-4046-88bd-a10549caffd0" providerId="ADAL" clId="{CD807069-DDAC-457A-97A7-358692896444}" dt="2023-06-28T12:58:23.024" v="4351" actId="478"/>
          <ac:spMkLst>
            <pc:docMk/>
            <pc:sldMk cId="2493193062" sldId="369"/>
            <ac:spMk id="61" creationId="{4B9B5095-CB85-2E30-B97C-75EE22B2CC7E}"/>
          </ac:spMkLst>
        </pc:spChg>
        <pc:spChg chg="mod">
          <ac:chgData name="Schäfermeier, Bastian" userId="222eb8a9-5069-4046-88bd-a10549caffd0" providerId="ADAL" clId="{CD807069-DDAC-457A-97A7-358692896444}" dt="2023-06-28T13:38:57.057" v="4821" actId="207"/>
          <ac:spMkLst>
            <pc:docMk/>
            <pc:sldMk cId="2493193062" sldId="369"/>
            <ac:spMk id="64" creationId="{88B50E67-3F70-CA85-DF1F-47B542870C1B}"/>
          </ac:spMkLst>
        </pc:spChg>
        <pc:spChg chg="add del">
          <ac:chgData name="Schäfermeier, Bastian" userId="222eb8a9-5069-4046-88bd-a10549caffd0" providerId="ADAL" clId="{CD807069-DDAC-457A-97A7-358692896444}" dt="2023-06-28T13:16:31.810" v="4479" actId="11529"/>
          <ac:spMkLst>
            <pc:docMk/>
            <pc:sldMk cId="2493193062" sldId="369"/>
            <ac:spMk id="73" creationId="{5BD6FC8A-097D-FC2F-C14D-51F13E90E6C1}"/>
          </ac:spMkLst>
        </pc:spChg>
        <pc:spChg chg="add del mod ord">
          <ac:chgData name="Schäfermeier, Bastian" userId="222eb8a9-5069-4046-88bd-a10549caffd0" providerId="ADAL" clId="{CD807069-DDAC-457A-97A7-358692896444}" dt="2023-06-28T13:39:27.554" v="4824" actId="478"/>
          <ac:spMkLst>
            <pc:docMk/>
            <pc:sldMk cId="2493193062" sldId="369"/>
            <ac:spMk id="75" creationId="{B70897AF-94FA-8A58-E4AA-29AF27D1B402}"/>
          </ac:spMkLst>
        </pc:spChg>
        <pc:spChg chg="add mod">
          <ac:chgData name="Schäfermeier, Bastian" userId="222eb8a9-5069-4046-88bd-a10549caffd0" providerId="ADAL" clId="{CD807069-DDAC-457A-97A7-358692896444}" dt="2023-06-28T13:59:54.272" v="5001"/>
          <ac:spMkLst>
            <pc:docMk/>
            <pc:sldMk cId="2493193062" sldId="369"/>
            <ac:spMk id="76" creationId="{D06BAA69-508D-B29C-202E-5E5E95E9984A}"/>
          </ac:spMkLst>
        </pc:spChg>
        <pc:spChg chg="add mod">
          <ac:chgData name="Schäfermeier, Bastian" userId="222eb8a9-5069-4046-88bd-a10549caffd0" providerId="ADAL" clId="{CD807069-DDAC-457A-97A7-358692896444}" dt="2023-06-28T13:59:54.272" v="5001"/>
          <ac:spMkLst>
            <pc:docMk/>
            <pc:sldMk cId="2493193062" sldId="369"/>
            <ac:spMk id="77" creationId="{F0E7DA27-E36F-88B3-1727-6713F000E35B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26" creationId="{4228CA89-880C-72AA-C4E0-F6A3EBCCF56C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27" creationId="{B2BBF240-A999-CE34-91AE-0A1D1589DE5C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29" creationId="{1EB69DA0-7F25-05DC-BB9F-04EBCA8CD354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33" creationId="{8074D7E9-2689-B6FD-F86D-62659921580D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34" creationId="{EB8AEF21-8C7E-AD2C-0D90-179FFABDD734}"/>
          </ac:spMkLst>
        </pc:spChg>
        <pc:spChg chg="add del mod">
          <ac:chgData name="Schäfermeier, Bastian" userId="222eb8a9-5069-4046-88bd-a10549caffd0" providerId="ADAL" clId="{CD807069-DDAC-457A-97A7-358692896444}" dt="2023-06-28T13:07:34.653" v="4429" actId="478"/>
          <ac:spMkLst>
            <pc:docMk/>
            <pc:sldMk cId="2493193062" sldId="369"/>
            <ac:spMk id="136" creationId="{C2DB630E-00E5-D8A6-F13C-385C2A94DC9A}"/>
          </ac:spMkLst>
        </pc:spChg>
        <pc:cxnChg chg="mod">
          <ac:chgData name="Schäfermeier, Bastian" userId="222eb8a9-5069-4046-88bd-a10549caffd0" providerId="ADAL" clId="{CD807069-DDAC-457A-97A7-358692896444}" dt="2023-06-28T13:04:21.911" v="4415" actId="1076"/>
          <ac:cxnSpMkLst>
            <pc:docMk/>
            <pc:sldMk cId="2493193062" sldId="369"/>
            <ac:cxnSpMk id="22" creationId="{E1028933-55F8-8C3D-1952-B9F7698372C6}"/>
          </ac:cxnSpMkLst>
        </pc:cxnChg>
        <pc:cxnChg chg="mod">
          <ac:chgData name="Schäfermeier, Bastian" userId="222eb8a9-5069-4046-88bd-a10549caffd0" providerId="ADAL" clId="{CD807069-DDAC-457A-97A7-358692896444}" dt="2023-06-28T13:21:04.891" v="4626" actId="1076"/>
          <ac:cxnSpMkLst>
            <pc:docMk/>
            <pc:sldMk cId="2493193062" sldId="369"/>
            <ac:cxnSpMk id="25" creationId="{6EADFD57-0A7E-FA0F-3E7B-1EBE681A6ABB}"/>
          </ac:cxnSpMkLst>
        </pc:cxnChg>
        <pc:cxnChg chg="mod">
          <ac:chgData name="Schäfermeier, Bastian" userId="222eb8a9-5069-4046-88bd-a10549caffd0" providerId="ADAL" clId="{CD807069-DDAC-457A-97A7-358692896444}" dt="2023-06-28T13:04:21.911" v="4415" actId="1076"/>
          <ac:cxnSpMkLst>
            <pc:docMk/>
            <pc:sldMk cId="2493193062" sldId="369"/>
            <ac:cxnSpMk id="31" creationId="{FAA87EA7-81AE-A15C-9306-33AA43EEE4A8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35" creationId="{9AB06C73-A7C7-9A71-C66C-CB5DFEC5004A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39" creationId="{8667469B-AA8F-FD79-B1E7-97364EF61A1A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50" creationId="{4CF49E8C-6409-F584-1C49-AB402B6637CA}"/>
          </ac:cxnSpMkLst>
        </pc:cxnChg>
        <pc:cxnChg chg="mod">
          <ac:chgData name="Schäfermeier, Bastian" userId="222eb8a9-5069-4046-88bd-a10549caffd0" providerId="ADAL" clId="{CD807069-DDAC-457A-97A7-358692896444}" dt="2023-06-28T13:07:26.288" v="4424" actId="14100"/>
          <ac:cxnSpMkLst>
            <pc:docMk/>
            <pc:sldMk cId="2493193062" sldId="369"/>
            <ac:cxnSpMk id="58" creationId="{5EA4995E-BAC1-9685-9B5E-2F2FE18F0D32}"/>
          </ac:cxnSpMkLst>
        </pc:cxnChg>
        <pc:cxnChg chg="mod">
          <ac:chgData name="Schäfermeier, Bastian" userId="222eb8a9-5069-4046-88bd-a10549caffd0" providerId="ADAL" clId="{CD807069-DDAC-457A-97A7-358692896444}" dt="2023-06-28T13:04:21.911" v="4415" actId="1076"/>
          <ac:cxnSpMkLst>
            <pc:docMk/>
            <pc:sldMk cId="2493193062" sldId="369"/>
            <ac:cxnSpMk id="65" creationId="{2EC9BB7E-103B-5FA9-01A2-329C6953FF16}"/>
          </ac:cxnSpMkLst>
        </pc:cxnChg>
        <pc:cxnChg chg="mod">
          <ac:chgData name="Schäfermeier, Bastian" userId="222eb8a9-5069-4046-88bd-a10549caffd0" providerId="ADAL" clId="{CD807069-DDAC-457A-97A7-358692896444}" dt="2023-06-28T13:04:21.911" v="4415" actId="1076"/>
          <ac:cxnSpMkLst>
            <pc:docMk/>
            <pc:sldMk cId="2493193062" sldId="369"/>
            <ac:cxnSpMk id="86" creationId="{F77817F3-F3BB-588F-F7A1-21D4C8C7D7F6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00" creationId="{A3837295-FC9C-2BF3-AEB8-01A01E2BDEBA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28" creationId="{F0939D4A-1256-94E4-A1E9-799784314529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30" creationId="{5B8D899D-CAC1-3D54-BF4F-E0CEC944E028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32" creationId="{AAD26016-91EA-FD41-A1AF-511EFAA4D736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35" creationId="{D6E192BF-07D9-0CCB-C4C2-8A8144AFE3C3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37" creationId="{80C51280-EDB1-F691-BC14-16226081AD90}"/>
          </ac:cxnSpMkLst>
        </pc:cxnChg>
        <pc:cxnChg chg="add del mod">
          <ac:chgData name="Schäfermeier, Bastian" userId="222eb8a9-5069-4046-88bd-a10549caffd0" providerId="ADAL" clId="{CD807069-DDAC-457A-97A7-358692896444}" dt="2023-06-28T13:07:34.653" v="4429" actId="478"/>
          <ac:cxnSpMkLst>
            <pc:docMk/>
            <pc:sldMk cId="2493193062" sldId="369"/>
            <ac:cxnSpMk id="139" creationId="{6A118583-288B-A091-3143-FA5C2C975CF7}"/>
          </ac:cxnSpMkLst>
        </pc:cxnChg>
      </pc:sldChg>
      <pc:sldChg chg="addSp delSp modSp add mod">
        <pc:chgData name="Schäfermeier, Bastian" userId="222eb8a9-5069-4046-88bd-a10549caffd0" providerId="ADAL" clId="{CD807069-DDAC-457A-97A7-358692896444}" dt="2023-07-11T14:19:51.150" v="7440" actId="1076"/>
        <pc:sldMkLst>
          <pc:docMk/>
          <pc:sldMk cId="2934519501" sldId="370"/>
        </pc:sldMkLst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2" creationId="{C8B45B4F-708E-6A1D-1330-C31EC7962044}"/>
          </ac:spMkLst>
        </pc:spChg>
        <pc:spChg chg="add mod">
          <ac:chgData name="Schäfermeier, Bastian" userId="222eb8a9-5069-4046-88bd-a10549caffd0" providerId="ADAL" clId="{CD807069-DDAC-457A-97A7-358692896444}" dt="2023-07-11T14:19:09.195" v="7433" actId="1076"/>
          <ac:spMkLst>
            <pc:docMk/>
            <pc:sldMk cId="2934519501" sldId="370"/>
            <ac:spMk id="5" creationId="{1F9C14D0-B9F8-FBBB-9E39-40D2DFAB088D}"/>
          </ac:spMkLst>
        </pc:spChg>
        <pc:spChg chg="mod">
          <ac:chgData name="Schäfermeier, Bastian" userId="222eb8a9-5069-4046-88bd-a10549caffd0" providerId="ADAL" clId="{CD807069-DDAC-457A-97A7-358692896444}" dt="2023-06-28T13:40:20.932" v="4844" actId="20577"/>
          <ac:spMkLst>
            <pc:docMk/>
            <pc:sldMk cId="2934519501" sldId="370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1" creationId="{344024B7-B5DA-71CE-C06E-0F2241C36F61}"/>
          </ac:spMkLst>
        </pc:spChg>
        <pc:spChg chg="add del mod">
          <ac:chgData name="Schäfermeier, Bastian" userId="222eb8a9-5069-4046-88bd-a10549caffd0" providerId="ADAL" clId="{CD807069-DDAC-457A-97A7-358692896444}" dt="2023-07-11T14:16:57.593" v="7404" actId="478"/>
          <ac:spMkLst>
            <pc:docMk/>
            <pc:sldMk cId="2934519501" sldId="370"/>
            <ac:spMk id="12" creationId="{B3B3CFEC-C35A-4F83-0C56-CEE3E6C84B58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13" creationId="{000114BA-C51D-DF92-63E9-463F201F4738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14" creationId="{4F656FE6-04FD-F6B6-0A96-C6170AC4F388}"/>
          </ac:spMkLst>
        </pc:spChg>
        <pc:spChg chg="mod">
          <ac:chgData name="Schäfermeier, Bastian" userId="222eb8a9-5069-4046-88bd-a10549caffd0" providerId="ADAL" clId="{CD807069-DDAC-457A-97A7-358692896444}" dt="2023-06-28T13:11:19.486" v="4458" actId="1076"/>
          <ac:spMkLst>
            <pc:docMk/>
            <pc:sldMk cId="2934519501" sldId="370"/>
            <ac:spMk id="15" creationId="{9175E41B-8D90-4B9C-AA0C-02FF09B533AA}"/>
          </ac:spMkLst>
        </pc:spChg>
        <pc:spChg chg="add del mod">
          <ac:chgData name="Schäfermeier, Bastian" userId="222eb8a9-5069-4046-88bd-a10549caffd0" providerId="ADAL" clId="{CD807069-DDAC-457A-97A7-358692896444}" dt="2023-07-11T14:16:57.593" v="7404" actId="478"/>
          <ac:spMkLst>
            <pc:docMk/>
            <pc:sldMk cId="2934519501" sldId="370"/>
            <ac:spMk id="16" creationId="{FB6C49AD-56F3-4D1C-5510-489B901F61E0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17" creationId="{6697655D-C706-FAD1-B062-C4F9C660E7C4}"/>
          </ac:spMkLst>
        </pc:spChg>
        <pc:spChg chg="add del mod">
          <ac:chgData name="Schäfermeier, Bastian" userId="222eb8a9-5069-4046-88bd-a10549caffd0" providerId="ADAL" clId="{CD807069-DDAC-457A-97A7-358692896444}" dt="2023-07-11T14:16:57.593" v="7404" actId="478"/>
          <ac:spMkLst>
            <pc:docMk/>
            <pc:sldMk cId="2934519501" sldId="370"/>
            <ac:spMk id="20" creationId="{9866EDA0-E971-7272-711A-A4FB1F6E3659}"/>
          </ac:spMkLst>
        </pc:spChg>
        <pc:spChg chg="add del mod">
          <ac:chgData name="Schäfermeier, Bastian" userId="222eb8a9-5069-4046-88bd-a10549caffd0" providerId="ADAL" clId="{CD807069-DDAC-457A-97A7-358692896444}" dt="2023-06-28T13:11:00.289" v="4453"/>
          <ac:spMkLst>
            <pc:docMk/>
            <pc:sldMk cId="2934519501" sldId="370"/>
            <ac:spMk id="21" creationId="{0A2E909E-CFC7-8197-2D5C-4C1E50AE81FC}"/>
          </ac:spMkLst>
        </pc:spChg>
        <pc:spChg chg="add del mod">
          <ac:chgData name="Schäfermeier, Bastian" userId="222eb8a9-5069-4046-88bd-a10549caffd0" providerId="ADAL" clId="{CD807069-DDAC-457A-97A7-358692896444}" dt="2023-06-28T13:11:00.289" v="4453"/>
          <ac:spMkLst>
            <pc:docMk/>
            <pc:sldMk cId="2934519501" sldId="370"/>
            <ac:spMk id="23" creationId="{A48AC431-0766-A9FC-6B7A-92D75BF11FA9}"/>
          </ac:spMkLst>
        </pc:spChg>
        <pc:spChg chg="add mod">
          <ac:chgData name="Schäfermeier, Bastian" userId="222eb8a9-5069-4046-88bd-a10549caffd0" providerId="ADAL" clId="{CD807069-DDAC-457A-97A7-358692896444}" dt="2023-07-11T14:19:50.870" v="7439" actId="1076"/>
          <ac:spMkLst>
            <pc:docMk/>
            <pc:sldMk cId="2934519501" sldId="370"/>
            <ac:spMk id="26" creationId="{0C23F8E9-596A-562D-0101-B3F59A30AA1B}"/>
          </ac:spMkLst>
        </pc:spChg>
        <pc:spChg chg="add del mod">
          <ac:chgData name="Schäfermeier, Bastian" userId="222eb8a9-5069-4046-88bd-a10549caffd0" providerId="ADAL" clId="{CD807069-DDAC-457A-97A7-358692896444}" dt="2023-06-28T13:11:00.289" v="4453"/>
          <ac:spMkLst>
            <pc:docMk/>
            <pc:sldMk cId="2934519501" sldId="370"/>
            <ac:spMk id="27" creationId="{D1565DAD-2FCC-1503-7B68-EB510F6ECD56}"/>
          </ac:spMkLst>
        </pc:spChg>
        <pc:spChg chg="mod">
          <ac:chgData name="Schäfermeier, Bastian" userId="222eb8a9-5069-4046-88bd-a10549caffd0" providerId="ADAL" clId="{CD807069-DDAC-457A-97A7-358692896444}" dt="2023-07-11T14:18:53.591" v="7428" actId="1076"/>
          <ac:spMkLst>
            <pc:docMk/>
            <pc:sldMk cId="2934519501" sldId="370"/>
            <ac:spMk id="29" creationId="{B1ABFDC2-9AF3-BEFC-A61D-F67051DEBA86}"/>
          </ac:spMkLst>
        </pc:spChg>
        <pc:spChg chg="add del mod">
          <ac:chgData name="Schäfermeier, Bastian" userId="222eb8a9-5069-4046-88bd-a10549caffd0" providerId="ADAL" clId="{CD807069-DDAC-457A-97A7-358692896444}" dt="2023-07-11T14:17:51.799" v="7412" actId="478"/>
          <ac:spMkLst>
            <pc:docMk/>
            <pc:sldMk cId="2934519501" sldId="370"/>
            <ac:spMk id="32" creationId="{C3B4AB04-A82A-8EB9-0A7C-FC92CC110FDA}"/>
          </ac:spMkLst>
        </pc:spChg>
        <pc:spChg chg="mod">
          <ac:chgData name="Schäfermeier, Bastian" userId="222eb8a9-5069-4046-88bd-a10549caffd0" providerId="ADAL" clId="{CD807069-DDAC-457A-97A7-358692896444}" dt="2023-07-11T14:19:04.044" v="7432" actId="1076"/>
          <ac:spMkLst>
            <pc:docMk/>
            <pc:sldMk cId="2934519501" sldId="370"/>
            <ac:spMk id="33" creationId="{A8990078-C29A-0191-E4DA-EF73EC9EA2A9}"/>
          </ac:spMkLst>
        </pc:spChg>
        <pc:spChg chg="add del mod">
          <ac:chgData name="Schäfermeier, Bastian" userId="222eb8a9-5069-4046-88bd-a10549caffd0" providerId="ADAL" clId="{CD807069-DDAC-457A-97A7-358692896444}" dt="2023-07-11T14:17:54.092" v="7413" actId="478"/>
          <ac:spMkLst>
            <pc:docMk/>
            <pc:sldMk cId="2934519501" sldId="370"/>
            <ac:spMk id="34" creationId="{6A8ABA11-8F6C-DB2F-E0FA-ADCECC6C27DF}"/>
          </ac:spMkLst>
        </pc:spChg>
        <pc:spChg chg="del mod">
          <ac:chgData name="Schäfermeier, Bastian" userId="222eb8a9-5069-4046-88bd-a10549caffd0" providerId="ADAL" clId="{CD807069-DDAC-457A-97A7-358692896444}" dt="2023-06-28T13:09:46.821" v="4440" actId="478"/>
          <ac:spMkLst>
            <pc:docMk/>
            <pc:sldMk cId="2934519501" sldId="370"/>
            <ac:spMk id="37" creationId="{CB884E44-4F3E-3757-0A94-53D3074894CD}"/>
          </ac:spMkLst>
        </pc:spChg>
        <pc:spChg chg="add del mod">
          <ac:chgData name="Schäfermeier, Bastian" userId="222eb8a9-5069-4046-88bd-a10549caffd0" providerId="ADAL" clId="{CD807069-DDAC-457A-97A7-358692896444}" dt="2023-07-11T14:17:56.549" v="7414" actId="478"/>
          <ac:spMkLst>
            <pc:docMk/>
            <pc:sldMk cId="2934519501" sldId="370"/>
            <ac:spMk id="40" creationId="{8047539D-647E-1B59-6A05-EF4F80468E40}"/>
          </ac:spMkLst>
        </pc:spChg>
        <pc:spChg chg="mod">
          <ac:chgData name="Schäfermeier, Bastian" userId="222eb8a9-5069-4046-88bd-a10549caffd0" providerId="ADAL" clId="{CD807069-DDAC-457A-97A7-358692896444}" dt="2023-06-28T13:37:50.094" v="4815" actId="207"/>
          <ac:spMkLst>
            <pc:docMk/>
            <pc:sldMk cId="2934519501" sldId="370"/>
            <ac:spMk id="43" creationId="{1C000CD4-D275-1B25-1F97-12BFF24A4590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48" creationId="{EDD89B1A-5753-5395-58A2-6F8916C116BE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57" creationId="{9AC34466-D6F9-68D7-57C5-5BB07D44A7C9}"/>
          </ac:spMkLst>
        </pc:spChg>
        <pc:spChg chg="mod">
          <ac:chgData name="Schäfermeier, Bastian" userId="222eb8a9-5069-4046-88bd-a10549caffd0" providerId="ADAL" clId="{CD807069-DDAC-457A-97A7-358692896444}" dt="2023-06-28T13:37:50.094" v="4815" actId="207"/>
          <ac:spMkLst>
            <pc:docMk/>
            <pc:sldMk cId="2934519501" sldId="370"/>
            <ac:spMk id="59" creationId="{2C3C7944-497D-7F87-6F6E-A23D200BB631}"/>
          </ac:spMkLst>
        </pc:spChg>
        <pc:spChg chg="del">
          <ac:chgData name="Schäfermeier, Bastian" userId="222eb8a9-5069-4046-88bd-a10549caffd0" providerId="ADAL" clId="{CD807069-DDAC-457A-97A7-358692896444}" dt="2023-06-28T13:04:34.339" v="4417" actId="478"/>
          <ac:spMkLst>
            <pc:docMk/>
            <pc:sldMk cId="2934519501" sldId="370"/>
            <ac:spMk id="64" creationId="{88B50E67-3F70-CA85-DF1F-47B542870C1B}"/>
          </ac:spMkLst>
        </pc:spChg>
        <pc:spChg chg="add mod">
          <ac:chgData name="Schäfermeier, Bastian" userId="222eb8a9-5069-4046-88bd-a10549caffd0" providerId="ADAL" clId="{CD807069-DDAC-457A-97A7-358692896444}" dt="2023-06-28T13:59:56.794" v="5002"/>
          <ac:spMkLst>
            <pc:docMk/>
            <pc:sldMk cId="2934519501" sldId="370"/>
            <ac:spMk id="93" creationId="{FEAF1B70-C338-F76E-AA3D-5DBD71681534}"/>
          </ac:spMkLst>
        </pc:spChg>
        <pc:spChg chg="add mod">
          <ac:chgData name="Schäfermeier, Bastian" userId="222eb8a9-5069-4046-88bd-a10549caffd0" providerId="ADAL" clId="{CD807069-DDAC-457A-97A7-358692896444}" dt="2023-06-28T13:59:56.794" v="5002"/>
          <ac:spMkLst>
            <pc:docMk/>
            <pc:sldMk cId="2934519501" sldId="370"/>
            <ac:spMk id="94" creationId="{7B327211-542B-2ABB-607B-C2A57B6DB129}"/>
          </ac:spMkLst>
        </pc:spChg>
        <pc:spChg chg="add del mod">
          <ac:chgData name="Schäfermeier, Bastian" userId="222eb8a9-5069-4046-88bd-a10549caffd0" providerId="ADAL" clId="{CD807069-DDAC-457A-97A7-358692896444}" dt="2023-07-11T14:17:00.631" v="7405" actId="478"/>
          <ac:spMkLst>
            <pc:docMk/>
            <pc:sldMk cId="2934519501" sldId="370"/>
            <ac:spMk id="95" creationId="{70981526-D354-84D9-3D27-5FA901CF2BB1}"/>
          </ac:spMkLst>
        </pc:spChg>
        <pc:spChg chg="add mod">
          <ac:chgData name="Schäfermeier, Bastian" userId="222eb8a9-5069-4046-88bd-a10549caffd0" providerId="ADAL" clId="{CD807069-DDAC-457A-97A7-358692896444}" dt="2023-07-11T14:18:56.457" v="7429" actId="1076"/>
          <ac:spMkLst>
            <pc:docMk/>
            <pc:sldMk cId="2934519501" sldId="370"/>
            <ac:spMk id="96" creationId="{FD726300-9937-7173-BF0F-6FF256B697A1}"/>
          </ac:spMkLst>
        </pc:spChg>
        <pc:spChg chg="add del mod">
          <ac:chgData name="Schäfermeier, Bastian" userId="222eb8a9-5069-4046-88bd-a10549caffd0" providerId="ADAL" clId="{CD807069-DDAC-457A-97A7-358692896444}" dt="2023-07-11T14:18:07.030" v="7418" actId="478"/>
          <ac:spMkLst>
            <pc:docMk/>
            <pc:sldMk cId="2934519501" sldId="370"/>
            <ac:spMk id="97" creationId="{4DAFB423-0244-ECB3-CC67-F06B376B237A}"/>
          </ac:spMkLst>
        </pc:spChg>
        <pc:spChg chg="add mod">
          <ac:chgData name="Schäfermeier, Bastian" userId="222eb8a9-5069-4046-88bd-a10549caffd0" providerId="ADAL" clId="{CD807069-DDAC-457A-97A7-358692896444}" dt="2023-07-11T14:19:51.150" v="7440" actId="1076"/>
          <ac:spMkLst>
            <pc:docMk/>
            <pc:sldMk cId="2934519501" sldId="370"/>
            <ac:spMk id="102" creationId="{25E46FAB-1B32-721E-89C9-2907C23E61C4}"/>
          </ac:spMkLst>
        </pc:spChg>
        <pc:spChg chg="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26" creationId="{4228CA89-880C-72AA-C4E0-F6A3EBCCF56C}"/>
          </ac:spMkLst>
        </pc:spChg>
        <pc:spChg chg="del mod">
          <ac:chgData name="Schäfermeier, Bastian" userId="222eb8a9-5069-4046-88bd-a10549caffd0" providerId="ADAL" clId="{CD807069-DDAC-457A-97A7-358692896444}" dt="2023-06-28T13:10:26.715" v="4447" actId="478"/>
          <ac:spMkLst>
            <pc:docMk/>
            <pc:sldMk cId="2934519501" sldId="370"/>
            <ac:spMk id="127" creationId="{B2BBF240-A999-CE34-91AE-0A1D1589DE5C}"/>
          </ac:spMkLst>
        </pc:spChg>
        <pc:spChg chg="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29" creationId="{1EB69DA0-7F25-05DC-BB9F-04EBCA8CD354}"/>
          </ac:spMkLst>
        </pc:spChg>
        <pc:spChg chg="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33" creationId="{8074D7E9-2689-B6FD-F86D-62659921580D}"/>
          </ac:spMkLst>
        </pc:spChg>
        <pc:spChg chg="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34" creationId="{EB8AEF21-8C7E-AD2C-0D90-179FFABDD734}"/>
          </ac:spMkLst>
        </pc:spChg>
        <pc:spChg chg="del mod">
          <ac:chgData name="Schäfermeier, Bastian" userId="222eb8a9-5069-4046-88bd-a10549caffd0" providerId="ADAL" clId="{CD807069-DDAC-457A-97A7-358692896444}" dt="2023-06-28T13:10:22.260" v="4446" actId="478"/>
          <ac:spMkLst>
            <pc:docMk/>
            <pc:sldMk cId="2934519501" sldId="370"/>
            <ac:spMk id="136" creationId="{C2DB630E-00E5-D8A6-F13C-385C2A94DC9A}"/>
          </ac:spMkLst>
        </pc:spChg>
        <pc:grpChg chg="add mod">
          <ac:chgData name="Schäfermeier, Bastian" userId="222eb8a9-5069-4046-88bd-a10549caffd0" providerId="ADAL" clId="{CD807069-DDAC-457A-97A7-358692896444}" dt="2023-06-28T13:32:00.967" v="4785" actId="164"/>
          <ac:grpSpMkLst>
            <pc:docMk/>
            <pc:sldMk cId="2934519501" sldId="370"/>
            <ac:grpSpMk id="81" creationId="{6BA22DAF-A29B-B8DA-5B4C-0F5DA905BD48}"/>
          </ac:grpSpMkLst>
        </pc:grpChg>
        <pc:grpChg chg="add mod">
          <ac:chgData name="Schäfermeier, Bastian" userId="222eb8a9-5069-4046-88bd-a10549caffd0" providerId="ADAL" clId="{CD807069-DDAC-457A-97A7-358692896444}" dt="2023-07-11T14:18:58.948" v="7431" actId="1076"/>
          <ac:grpSpMkLst>
            <pc:docMk/>
            <pc:sldMk cId="2934519501" sldId="370"/>
            <ac:grpSpMk id="82" creationId="{93413D67-ED13-514A-63DA-DCCAF5BCEA74}"/>
          </ac:grpSpMkLst>
        </pc:grpChg>
        <pc:cxnChg chg="add del mod">
          <ac:chgData name="Schäfermeier, Bastian" userId="222eb8a9-5069-4046-88bd-a10549caffd0" providerId="ADAL" clId="{CD807069-DDAC-457A-97A7-358692896444}" dt="2023-07-11T14:17:09.610" v="7406" actId="478"/>
          <ac:cxnSpMkLst>
            <pc:docMk/>
            <pc:sldMk cId="2934519501" sldId="370"/>
            <ac:cxnSpMk id="18" creationId="{8C305BC6-EC93-6F17-6B95-D312BD8A5CE7}"/>
          </ac:cxnSpMkLst>
        </pc:cxnChg>
        <pc:cxnChg chg="add del mod">
          <ac:chgData name="Schäfermeier, Bastian" userId="222eb8a9-5069-4046-88bd-a10549caffd0" providerId="ADAL" clId="{CD807069-DDAC-457A-97A7-358692896444}" dt="2023-07-11T14:17:12.489" v="7407" actId="478"/>
          <ac:cxnSpMkLst>
            <pc:docMk/>
            <pc:sldMk cId="2934519501" sldId="370"/>
            <ac:cxnSpMk id="19" creationId="{5F42A894-1AE7-3995-0FAC-5860613B29FA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22" creationId="{E1028933-55F8-8C3D-1952-B9F7698372C6}"/>
          </ac:cxnSpMkLst>
        </pc:cxnChg>
        <pc:cxnChg chg="add del mod">
          <ac:chgData name="Schäfermeier, Bastian" userId="222eb8a9-5069-4046-88bd-a10549caffd0" providerId="ADAL" clId="{CD807069-DDAC-457A-97A7-358692896444}" dt="2023-06-28T13:11:00.289" v="4453"/>
          <ac:cxnSpMkLst>
            <pc:docMk/>
            <pc:sldMk cId="2934519501" sldId="370"/>
            <ac:cxnSpMk id="24" creationId="{04FAE6DE-794B-0C8B-D943-AF3A71B848E3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25" creationId="{6EADFD57-0A7E-FA0F-3E7B-1EBE681A6ABB}"/>
          </ac:cxnSpMkLst>
        </pc:cxnChg>
        <pc:cxnChg chg="add del mod">
          <ac:chgData name="Schäfermeier, Bastian" userId="222eb8a9-5069-4046-88bd-a10549caffd0" providerId="ADAL" clId="{CD807069-DDAC-457A-97A7-358692896444}" dt="2023-06-28T13:11:00.289" v="4453"/>
          <ac:cxnSpMkLst>
            <pc:docMk/>
            <pc:sldMk cId="2934519501" sldId="370"/>
            <ac:cxnSpMk id="26" creationId="{AE304980-0B60-8478-6F56-824E231D8AA9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31" creationId="{FAA87EA7-81AE-A15C-9306-33AA43EEE4A8}"/>
          </ac:cxnSpMkLst>
        </pc:cxnChg>
        <pc:cxnChg chg="mod">
          <ac:chgData name="Schäfermeier, Bastian" userId="222eb8a9-5069-4046-88bd-a10549caffd0" providerId="ADAL" clId="{CD807069-DDAC-457A-97A7-358692896444}" dt="2023-07-11T14:19:04.044" v="7432" actId="1076"/>
          <ac:cxnSpMkLst>
            <pc:docMk/>
            <pc:sldMk cId="2934519501" sldId="370"/>
            <ac:cxnSpMk id="35" creationId="{9AB06C73-A7C7-9A71-C66C-CB5DFEC5004A}"/>
          </ac:cxnSpMkLst>
        </pc:cxnChg>
        <pc:cxnChg chg="add del mod">
          <ac:chgData name="Schäfermeier, Bastian" userId="222eb8a9-5069-4046-88bd-a10549caffd0" providerId="ADAL" clId="{CD807069-DDAC-457A-97A7-358692896444}" dt="2023-07-11T14:18:00.799" v="7416" actId="478"/>
          <ac:cxnSpMkLst>
            <pc:docMk/>
            <pc:sldMk cId="2934519501" sldId="370"/>
            <ac:cxnSpMk id="36" creationId="{70D37700-5CE8-2CF8-9620-21C5A9FA7C3E}"/>
          </ac:cxnSpMkLst>
        </pc:cxnChg>
        <pc:cxnChg chg="add del mod">
          <ac:chgData name="Schäfermeier, Bastian" userId="222eb8a9-5069-4046-88bd-a10549caffd0" providerId="ADAL" clId="{CD807069-DDAC-457A-97A7-358692896444}" dt="2023-07-11T14:17:58.420" v="7415" actId="478"/>
          <ac:cxnSpMkLst>
            <pc:docMk/>
            <pc:sldMk cId="2934519501" sldId="370"/>
            <ac:cxnSpMk id="38" creationId="{A572027D-CFFF-3441-3B00-59EC8DE8D774}"/>
          </ac:cxnSpMkLst>
        </pc:cxnChg>
        <pc:cxnChg chg="mod">
          <ac:chgData name="Schäfermeier, Bastian" userId="222eb8a9-5069-4046-88bd-a10549caffd0" providerId="ADAL" clId="{CD807069-DDAC-457A-97A7-358692896444}" dt="2023-07-11T14:19:09.195" v="7433" actId="1076"/>
          <ac:cxnSpMkLst>
            <pc:docMk/>
            <pc:sldMk cId="2934519501" sldId="370"/>
            <ac:cxnSpMk id="39" creationId="{8667469B-AA8F-FD79-B1E7-97364EF61A1A}"/>
          </ac:cxnSpMkLst>
        </pc:cxnChg>
        <pc:cxnChg chg="mod">
          <ac:chgData name="Schäfermeier, Bastian" userId="222eb8a9-5069-4046-88bd-a10549caffd0" providerId="ADAL" clId="{CD807069-DDAC-457A-97A7-358692896444}" dt="2023-06-28T13:37:50.094" v="4815" actId="207"/>
          <ac:cxnSpMkLst>
            <pc:docMk/>
            <pc:sldMk cId="2934519501" sldId="370"/>
            <ac:cxnSpMk id="50" creationId="{4CF49E8C-6409-F584-1C49-AB402B6637CA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58" creationId="{5EA4995E-BAC1-9685-9B5E-2F2FE18F0D32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65" creationId="{2EC9BB7E-103B-5FA9-01A2-329C6953FF16}"/>
          </ac:cxnSpMkLst>
        </pc:cxnChg>
        <pc:cxnChg chg="del mod">
          <ac:chgData name="Schäfermeier, Bastian" userId="222eb8a9-5069-4046-88bd-a10549caffd0" providerId="ADAL" clId="{CD807069-DDAC-457A-97A7-358692896444}" dt="2023-06-28T13:04:34.339" v="4417" actId="478"/>
          <ac:cxnSpMkLst>
            <pc:docMk/>
            <pc:sldMk cId="2934519501" sldId="370"/>
            <ac:cxnSpMk id="86" creationId="{F77817F3-F3BB-588F-F7A1-21D4C8C7D7F6}"/>
          </ac:cxnSpMkLst>
        </pc:cxnChg>
        <pc:cxnChg chg="add mod">
          <ac:chgData name="Schäfermeier, Bastian" userId="222eb8a9-5069-4046-88bd-a10549caffd0" providerId="ADAL" clId="{CD807069-DDAC-457A-97A7-358692896444}" dt="2023-07-11T14:18:58.948" v="7431" actId="1076"/>
          <ac:cxnSpMkLst>
            <pc:docMk/>
            <pc:sldMk cId="2934519501" sldId="370"/>
            <ac:cxnSpMk id="98" creationId="{CC32855C-79DD-5BA9-7520-FA3E6AFE535F}"/>
          </ac:cxnSpMkLst>
        </pc:cxnChg>
        <pc:cxnChg chg="mod">
          <ac:chgData name="Schäfermeier, Bastian" userId="222eb8a9-5069-4046-88bd-a10549caffd0" providerId="ADAL" clId="{CD807069-DDAC-457A-97A7-358692896444}" dt="2023-07-11T14:18:53.591" v="7428" actId="1076"/>
          <ac:cxnSpMkLst>
            <pc:docMk/>
            <pc:sldMk cId="2934519501" sldId="370"/>
            <ac:cxnSpMk id="100" creationId="{A3837295-FC9C-2BF3-AEB8-01A01E2BDEBA}"/>
          </ac:cxnSpMkLst>
        </pc:cxnChg>
        <pc:cxnChg chg="del mod">
          <ac:chgData name="Schäfermeier, Bastian" userId="222eb8a9-5069-4046-88bd-a10549caffd0" providerId="ADAL" clId="{CD807069-DDAC-457A-97A7-358692896444}" dt="2023-06-28T13:10:22.260" v="4446" actId="478"/>
          <ac:cxnSpMkLst>
            <pc:docMk/>
            <pc:sldMk cId="2934519501" sldId="370"/>
            <ac:cxnSpMk id="128" creationId="{F0939D4A-1256-94E4-A1E9-799784314529}"/>
          </ac:cxnSpMkLst>
        </pc:cxnChg>
        <pc:cxnChg chg="del mod">
          <ac:chgData name="Schäfermeier, Bastian" userId="222eb8a9-5069-4046-88bd-a10549caffd0" providerId="ADAL" clId="{CD807069-DDAC-457A-97A7-358692896444}" dt="2023-06-28T13:10:22.260" v="4446" actId="478"/>
          <ac:cxnSpMkLst>
            <pc:docMk/>
            <pc:sldMk cId="2934519501" sldId="370"/>
            <ac:cxnSpMk id="130" creationId="{5B8D899D-CAC1-3D54-BF4F-E0CEC944E028}"/>
          </ac:cxnSpMkLst>
        </pc:cxnChg>
        <pc:cxnChg chg="del mod">
          <ac:chgData name="Schäfermeier, Bastian" userId="222eb8a9-5069-4046-88bd-a10549caffd0" providerId="ADAL" clId="{CD807069-DDAC-457A-97A7-358692896444}" dt="2023-07-11T14:17:15.594" v="7408" actId="478"/>
          <ac:cxnSpMkLst>
            <pc:docMk/>
            <pc:sldMk cId="2934519501" sldId="370"/>
            <ac:cxnSpMk id="132" creationId="{AAD26016-91EA-FD41-A1AF-511EFAA4D736}"/>
          </ac:cxnSpMkLst>
        </pc:cxnChg>
        <pc:cxnChg chg="del mod">
          <ac:chgData name="Schäfermeier, Bastian" userId="222eb8a9-5069-4046-88bd-a10549caffd0" providerId="ADAL" clId="{CD807069-DDAC-457A-97A7-358692896444}" dt="2023-06-28T13:10:22.260" v="4446" actId="478"/>
          <ac:cxnSpMkLst>
            <pc:docMk/>
            <pc:sldMk cId="2934519501" sldId="370"/>
            <ac:cxnSpMk id="135" creationId="{D6E192BF-07D9-0CCB-C4C2-8A8144AFE3C3}"/>
          </ac:cxnSpMkLst>
        </pc:cxnChg>
        <pc:cxnChg chg="del mod">
          <ac:chgData name="Schäfermeier, Bastian" userId="222eb8a9-5069-4046-88bd-a10549caffd0" providerId="ADAL" clId="{CD807069-DDAC-457A-97A7-358692896444}" dt="2023-06-28T13:10:22.260" v="4446" actId="478"/>
          <ac:cxnSpMkLst>
            <pc:docMk/>
            <pc:sldMk cId="2934519501" sldId="370"/>
            <ac:cxnSpMk id="137" creationId="{80C51280-EDB1-F691-BC14-16226081AD90}"/>
          </ac:cxnSpMkLst>
        </pc:cxnChg>
        <pc:cxnChg chg="mod">
          <ac:chgData name="Schäfermeier, Bastian" userId="222eb8a9-5069-4046-88bd-a10549caffd0" providerId="ADAL" clId="{CD807069-DDAC-457A-97A7-358692896444}" dt="2023-07-11T14:18:19.615" v="7420" actId="14100"/>
          <ac:cxnSpMkLst>
            <pc:docMk/>
            <pc:sldMk cId="2934519501" sldId="370"/>
            <ac:cxnSpMk id="139" creationId="{6A118583-288B-A091-3143-FA5C2C975CF7}"/>
          </ac:cxnSpMkLst>
        </pc:cxnChg>
      </pc:sldChg>
      <pc:sldChg chg="addSp delSp modSp add mod ord">
        <pc:chgData name="Schäfermeier, Bastian" userId="222eb8a9-5069-4046-88bd-a10549caffd0" providerId="ADAL" clId="{CD807069-DDAC-457A-97A7-358692896444}" dt="2023-07-17T11:39:04.568" v="11935" actId="1076"/>
        <pc:sldMkLst>
          <pc:docMk/>
          <pc:sldMk cId="2621159179" sldId="371"/>
        </pc:sldMkLst>
        <pc:spChg chg="mod">
          <ac:chgData name="Schäfermeier, Bastian" userId="222eb8a9-5069-4046-88bd-a10549caffd0" providerId="ADAL" clId="{CD807069-DDAC-457A-97A7-358692896444}" dt="2023-06-28T15:48:36.476" v="6353" actId="20577"/>
          <ac:spMkLst>
            <pc:docMk/>
            <pc:sldMk cId="2621159179" sldId="371"/>
            <ac:spMk id="2" creationId="{3023E634-4318-419C-B03F-D5665391FB05}"/>
          </ac:spMkLst>
        </pc:spChg>
        <pc:spChg chg="mod">
          <ac:chgData name="Schäfermeier, Bastian" userId="222eb8a9-5069-4046-88bd-a10549caffd0" providerId="ADAL" clId="{CD807069-DDAC-457A-97A7-358692896444}" dt="2023-07-17T11:08:14.455" v="11838" actId="20577"/>
          <ac:spMkLst>
            <pc:docMk/>
            <pc:sldMk cId="2621159179" sldId="371"/>
            <ac:spMk id="15" creationId="{9175E41B-8D90-4B9C-AA0C-02FF09B533AA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0" creationId="{2C0B9065-21EC-3A16-4F39-5F71CEDC570D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1" creationId="{240DE9CE-6AC9-1888-E4C2-4213E0FFE238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2" creationId="{37777D46-0C3F-0B3C-23BC-65336EEB99F3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3" creationId="{8F6D307B-907C-6C52-3389-B345BF24961E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4" creationId="{0A91C0FF-C7D4-CE22-E138-2566B7E6AD19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5" creationId="{15DC9BF2-03A1-EEB8-835C-B819534BDFA7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6" creationId="{8C7AC482-127A-62CB-25CD-0B18A26D3996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7" creationId="{6BCAFC83-CE6E-3A30-F664-5725E48073D4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8" creationId="{32D6140E-7FEE-D5A1-F957-A3E6C5AA1D6A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29" creationId="{607718DE-753B-7772-1536-7262B9132676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0" creationId="{EB5BEBC1-FD91-E324-4FB2-74BF03EA184E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1" creationId="{305A051E-18AB-9323-38A4-E5608B267BFC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2" creationId="{1593693C-DAD5-99E1-D040-12F32D4EB987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3" creationId="{1798D9C1-300C-65DF-29B6-D70A610E3EC9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4" creationId="{F8B51B13-D6FA-A13A-D067-C17E2D6A9D90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5" creationId="{71B24F65-2DE3-6EDC-B03A-A9B2667A3D66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6" creationId="{0914EF32-DAEC-5C54-22F1-240C4ABA584A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7" creationId="{0B16607A-B624-04A2-2124-20230C696B37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8" creationId="{E2F33914-C672-4453-7FB4-BF8C06E91562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39" creationId="{45233E61-CE32-4879-4B27-B7EF833A63CA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1" creationId="{99C74522-F9AA-36DF-6B13-F0190BA1C49A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2" creationId="{A27C54E6-9AA8-2AB9-B6C8-DF25A44FD304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5" creationId="{A7B8080E-10C2-F503-4E92-8F6F64E74052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6" creationId="{D2FA8A17-C23E-5528-E4A7-D0F439240850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7" creationId="{96517FDC-B5D0-A90E-C12C-7A29CE795147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8" creationId="{6054A654-045A-C975-E648-58BC16E2E167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49" creationId="{5099EBB5-BBEE-14E8-A7FE-FD175027882F}"/>
          </ac:spMkLst>
        </pc:spChg>
        <pc:spChg chg="add mod">
          <ac:chgData name="Schäfermeier, Bastian" userId="222eb8a9-5069-4046-88bd-a10549caffd0" providerId="ADAL" clId="{CD807069-DDAC-457A-97A7-358692896444}" dt="2023-07-11T14:39:49.221" v="7584" actId="1076"/>
          <ac:spMkLst>
            <pc:docMk/>
            <pc:sldMk cId="2621159179" sldId="371"/>
            <ac:spMk id="50" creationId="{0CD0CBDE-9167-5789-2C7A-EF0864353603}"/>
          </ac:spMkLst>
        </pc:spChg>
        <pc:spChg chg="add mod">
          <ac:chgData name="Schäfermeier, Bastian" userId="222eb8a9-5069-4046-88bd-a10549caffd0" providerId="ADAL" clId="{CD807069-DDAC-457A-97A7-358692896444}" dt="2023-07-11T14:43:04.022" v="7717" actId="20577"/>
          <ac:spMkLst>
            <pc:docMk/>
            <pc:sldMk cId="2621159179" sldId="371"/>
            <ac:spMk id="54" creationId="{F06CA547-D821-553A-82EC-5826BB1658EF}"/>
          </ac:spMkLst>
        </pc:spChg>
        <pc:spChg chg="add mod">
          <ac:chgData name="Schäfermeier, Bastian" userId="222eb8a9-5069-4046-88bd-a10549caffd0" providerId="ADAL" clId="{CD807069-DDAC-457A-97A7-358692896444}" dt="2023-07-17T11:39:04.568" v="11935" actId="1076"/>
          <ac:spMkLst>
            <pc:docMk/>
            <pc:sldMk cId="2621159179" sldId="371"/>
            <ac:spMk id="56" creationId="{BA862AB8-8048-2E80-6AEA-866491636D1C}"/>
          </ac:spMkLst>
        </pc:spChg>
        <pc:spChg chg="add mod">
          <ac:chgData name="Schäfermeier, Bastian" userId="222eb8a9-5069-4046-88bd-a10549caffd0" providerId="ADAL" clId="{CD807069-DDAC-457A-97A7-358692896444}" dt="2023-07-11T14:51:44.026" v="8041" actId="20577"/>
          <ac:spMkLst>
            <pc:docMk/>
            <pc:sldMk cId="2621159179" sldId="371"/>
            <ac:spMk id="62" creationId="{9C0A8D53-B409-496D-F2DC-19CD1A443DAE}"/>
          </ac:spMkLst>
        </pc:spChg>
        <pc:spChg chg="add mod">
          <ac:chgData name="Schäfermeier, Bastian" userId="222eb8a9-5069-4046-88bd-a10549caffd0" providerId="ADAL" clId="{CD807069-DDAC-457A-97A7-358692896444}" dt="2023-07-12T07:04:32.270" v="8456" actId="313"/>
          <ac:spMkLst>
            <pc:docMk/>
            <pc:sldMk cId="2621159179" sldId="371"/>
            <ac:spMk id="82" creationId="{2682813E-91DA-CEED-39BE-85E43C20DA47}"/>
          </ac:spMkLst>
        </pc:spChg>
        <pc:spChg chg="add mod">
          <ac:chgData name="Schäfermeier, Bastian" userId="222eb8a9-5069-4046-88bd-a10549caffd0" providerId="ADAL" clId="{CD807069-DDAC-457A-97A7-358692896444}" dt="2023-07-17T11:38:08.933" v="11916" actId="20577"/>
          <ac:spMkLst>
            <pc:docMk/>
            <pc:sldMk cId="2621159179" sldId="371"/>
            <ac:spMk id="99" creationId="{F6B2FFA9-5EDC-FF65-6E00-45B80043D8B5}"/>
          </ac:spMkLst>
        </pc:spChg>
        <pc:spChg chg="add mod">
          <ac:chgData name="Schäfermeier, Bastian" userId="222eb8a9-5069-4046-88bd-a10549caffd0" providerId="ADAL" clId="{CD807069-DDAC-457A-97A7-358692896444}" dt="2023-07-12T07:15:14.148" v="8540" actId="1037"/>
          <ac:spMkLst>
            <pc:docMk/>
            <pc:sldMk cId="2621159179" sldId="371"/>
            <ac:spMk id="107" creationId="{F8EA0C4D-406B-2878-B800-E70AEFF0E492}"/>
          </ac:spMkLst>
        </pc:spChg>
        <pc:spChg chg="add mod">
          <ac:chgData name="Schäfermeier, Bastian" userId="222eb8a9-5069-4046-88bd-a10549caffd0" providerId="ADAL" clId="{CD807069-DDAC-457A-97A7-358692896444}" dt="2023-07-12T07:15:25.718" v="8555" actId="1035"/>
          <ac:spMkLst>
            <pc:docMk/>
            <pc:sldMk cId="2621159179" sldId="371"/>
            <ac:spMk id="108" creationId="{31E47D5E-BCCF-3487-B4AE-D28F89E09759}"/>
          </ac:spMkLst>
        </pc:sp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5" creationId="{81A29FCC-7CF9-B600-2C05-4B8FCD3C34E9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8" creationId="{46E89946-236B-278A-67DD-ECC305B22754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0" creationId="{8479A542-0717-B6D5-175B-497A82A8464A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1" creationId="{17E20040-52C1-5DEE-2509-3C976F49A98A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2" creationId="{F782478A-3EBB-38B4-48DA-221214D790D7}"/>
          </ac:cxnSpMkLst>
        </pc:cxnChg>
        <pc:cxnChg chg="add mod">
          <ac:chgData name="Schäfermeier, Bastian" userId="222eb8a9-5069-4046-88bd-a10549caffd0" providerId="ADAL" clId="{CD807069-DDAC-457A-97A7-358692896444}" dt="2023-07-12T07:13:50.203" v="8460" actId="1076"/>
          <ac:cxnSpMkLst>
            <pc:docMk/>
            <pc:sldMk cId="2621159179" sldId="371"/>
            <ac:cxnSpMk id="13" creationId="{BEC456CC-626C-12E8-D643-BD68C98E1FCC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4" creationId="{3172F9E9-5688-864A-48FA-88BC98A3AD48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6" creationId="{D60419E9-4467-8DDD-3271-629A70EC63F2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7" creationId="{BD686D3F-B556-4F50-DB64-7A2C8C107877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8" creationId="{434DF23F-F68B-7667-AC93-6906A730A34B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19" creationId="{4C6901C3-F39E-5ED5-ABEF-5642FB7485FB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40" creationId="{76C42182-FA43-C339-07CF-E94BE3A577FB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43" creationId="{95ABB815-7D42-8B63-BC28-EBD6AC4AB313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44" creationId="{BA6DE179-C5B0-8407-F18E-D0435EB79010}"/>
          </ac:cxnSpMkLst>
        </pc:cxnChg>
        <pc:cxnChg chg="add mod">
          <ac:chgData name="Schäfermeier, Bastian" userId="222eb8a9-5069-4046-88bd-a10549caffd0" providerId="ADAL" clId="{CD807069-DDAC-457A-97A7-358692896444}" dt="2023-07-11T14:39:49.221" v="7584" actId="1076"/>
          <ac:cxnSpMkLst>
            <pc:docMk/>
            <pc:sldMk cId="2621159179" sldId="371"/>
            <ac:cxnSpMk id="51" creationId="{DC2FC9D1-DB71-7EC4-58E3-EBD29F0D87DD}"/>
          </ac:cxnSpMkLst>
        </pc:cxnChg>
        <pc:cxnChg chg="add mod">
          <ac:chgData name="Schäfermeier, Bastian" userId="222eb8a9-5069-4046-88bd-a10549caffd0" providerId="ADAL" clId="{CD807069-DDAC-457A-97A7-358692896444}" dt="2023-07-17T11:38:47.303" v="11919" actId="14100"/>
          <ac:cxnSpMkLst>
            <pc:docMk/>
            <pc:sldMk cId="2621159179" sldId="371"/>
            <ac:cxnSpMk id="52" creationId="{3B0D3441-381E-9CFD-BF73-8186544563CB}"/>
          </ac:cxnSpMkLst>
        </pc:cxnChg>
        <pc:cxnChg chg="add mod">
          <ac:chgData name="Schäfermeier, Bastian" userId="222eb8a9-5069-4046-88bd-a10549caffd0" providerId="ADAL" clId="{CD807069-DDAC-457A-97A7-358692896444}" dt="2023-07-11T14:51:44.026" v="8041" actId="20577"/>
          <ac:cxnSpMkLst>
            <pc:docMk/>
            <pc:sldMk cId="2621159179" sldId="371"/>
            <ac:cxnSpMk id="53" creationId="{C587376A-AAE5-1714-11D8-82CB6D9B58F7}"/>
          </ac:cxnSpMkLst>
        </pc:cxnChg>
        <pc:cxnChg chg="add del mod">
          <ac:chgData name="Schäfermeier, Bastian" userId="222eb8a9-5069-4046-88bd-a10549caffd0" providerId="ADAL" clId="{CD807069-DDAC-457A-97A7-358692896444}" dt="2023-07-11T14:36:11.009" v="7503" actId="11529"/>
          <ac:cxnSpMkLst>
            <pc:docMk/>
            <pc:sldMk cId="2621159179" sldId="371"/>
            <ac:cxnSpMk id="56" creationId="{C5BAEA9B-88DF-D476-5365-9169CA46DC2B}"/>
          </ac:cxnSpMkLst>
        </pc:cxnChg>
        <pc:cxnChg chg="add mod">
          <ac:chgData name="Schäfermeier, Bastian" userId="222eb8a9-5069-4046-88bd-a10549caffd0" providerId="ADAL" clId="{CD807069-DDAC-457A-97A7-358692896444}" dt="2023-07-11T14:46:35.336" v="7924" actId="14100"/>
          <ac:cxnSpMkLst>
            <pc:docMk/>
            <pc:sldMk cId="2621159179" sldId="371"/>
            <ac:cxnSpMk id="58" creationId="{4EA868D1-D72D-703F-7D04-19E1453FE235}"/>
          </ac:cxnSpMkLst>
        </pc:cxnChg>
        <pc:cxnChg chg="add mod">
          <ac:chgData name="Schäfermeier, Bastian" userId="222eb8a9-5069-4046-88bd-a10549caffd0" providerId="ADAL" clId="{CD807069-DDAC-457A-97A7-358692896444}" dt="2023-07-11T14:46:44.394" v="7925" actId="14100"/>
          <ac:cxnSpMkLst>
            <pc:docMk/>
            <pc:sldMk cId="2621159179" sldId="371"/>
            <ac:cxnSpMk id="60" creationId="{4598E1B1-0F3C-A7CA-7CC3-C11349380B58}"/>
          </ac:cxnSpMkLst>
        </pc:cxnChg>
        <pc:cxnChg chg="add del mod">
          <ac:chgData name="Schäfermeier, Bastian" userId="222eb8a9-5069-4046-88bd-a10549caffd0" providerId="ADAL" clId="{CD807069-DDAC-457A-97A7-358692896444}" dt="2023-07-11T14:39:36.591" v="7583" actId="478"/>
          <ac:cxnSpMkLst>
            <pc:docMk/>
            <pc:sldMk cId="2621159179" sldId="371"/>
            <ac:cxnSpMk id="76" creationId="{A0B44900-8B62-E8C4-B4A8-3DBABBF0DCF5}"/>
          </ac:cxnSpMkLst>
        </pc:cxnChg>
        <pc:cxnChg chg="add mod">
          <ac:chgData name="Schäfermeier, Bastian" userId="222eb8a9-5069-4046-88bd-a10549caffd0" providerId="ADAL" clId="{CD807069-DDAC-457A-97A7-358692896444}" dt="2023-07-12T07:04:32.020" v="8454" actId="20577"/>
          <ac:cxnSpMkLst>
            <pc:docMk/>
            <pc:sldMk cId="2621159179" sldId="371"/>
            <ac:cxnSpMk id="81" creationId="{B7FD30DC-377F-C523-A42F-44684CC98430}"/>
          </ac:cxnSpMkLst>
        </pc:cxnChg>
        <pc:cxnChg chg="add del mod">
          <ac:chgData name="Schäfermeier, Bastian" userId="222eb8a9-5069-4046-88bd-a10549caffd0" providerId="ADAL" clId="{CD807069-DDAC-457A-97A7-358692896444}" dt="2023-07-11T14:43:25.893" v="7719" actId="11529"/>
          <ac:cxnSpMkLst>
            <pc:docMk/>
            <pc:sldMk cId="2621159179" sldId="371"/>
            <ac:cxnSpMk id="96" creationId="{875FE468-7045-FCA8-D3F9-FF720AD8D57B}"/>
          </ac:cxnSpMkLst>
        </pc:cxnChg>
        <pc:cxnChg chg="add mod">
          <ac:chgData name="Schäfermeier, Bastian" userId="222eb8a9-5069-4046-88bd-a10549caffd0" providerId="ADAL" clId="{CD807069-DDAC-457A-97A7-358692896444}" dt="2023-07-11T14:48:07.265" v="7959" actId="20577"/>
          <ac:cxnSpMkLst>
            <pc:docMk/>
            <pc:sldMk cId="2621159179" sldId="371"/>
            <ac:cxnSpMk id="98" creationId="{11EBC9F4-391D-C424-0AD5-090A2B6165A4}"/>
          </ac:cxnSpMkLst>
        </pc:cxnChg>
        <pc:cxnChg chg="add mod">
          <ac:chgData name="Schäfermeier, Bastian" userId="222eb8a9-5069-4046-88bd-a10549caffd0" providerId="ADAL" clId="{CD807069-DDAC-457A-97A7-358692896444}" dt="2023-07-12T07:15:35.066" v="8556" actId="14100"/>
          <ac:cxnSpMkLst>
            <pc:docMk/>
            <pc:sldMk cId="2621159179" sldId="371"/>
            <ac:cxnSpMk id="105" creationId="{15B2573A-756B-8233-4C85-2C580855C4A3}"/>
          </ac:cxnSpMkLst>
        </pc:cxnChg>
        <pc:cxnChg chg="add del mod">
          <ac:chgData name="Schäfermeier, Bastian" userId="222eb8a9-5069-4046-88bd-a10549caffd0" providerId="ADAL" clId="{CD807069-DDAC-457A-97A7-358692896444}" dt="2023-07-12T07:14:20.229" v="8491"/>
          <ac:cxnSpMkLst>
            <pc:docMk/>
            <pc:sldMk cId="2621159179" sldId="371"/>
            <ac:cxnSpMk id="106" creationId="{94C1180A-7ABD-7ED4-AE61-802D9AD59A60}"/>
          </ac:cxnSpMkLst>
        </pc:cxnChg>
      </pc:sldChg>
      <pc:sldChg chg="add del ord">
        <pc:chgData name="Schäfermeier, Bastian" userId="222eb8a9-5069-4046-88bd-a10549caffd0" providerId="ADAL" clId="{CD807069-DDAC-457A-97A7-358692896444}" dt="2023-06-28T14:32:06.585" v="5579" actId="47"/>
        <pc:sldMkLst>
          <pc:docMk/>
          <pc:sldMk cId="2795410044" sldId="371"/>
        </pc:sldMkLst>
      </pc:sldChg>
      <pc:sldChg chg="addSp modSp add mod modAnim">
        <pc:chgData name="Schäfermeier, Bastian" userId="222eb8a9-5069-4046-88bd-a10549caffd0" providerId="ADAL" clId="{CD807069-DDAC-457A-97A7-358692896444}" dt="2023-06-28T16:22:15.089" v="7069"/>
        <pc:sldMkLst>
          <pc:docMk/>
          <pc:sldMk cId="1230199307" sldId="372"/>
        </pc:sldMkLst>
        <pc:spChg chg="add mod">
          <ac:chgData name="Schäfermeier, Bastian" userId="222eb8a9-5069-4046-88bd-a10549caffd0" providerId="ADAL" clId="{CD807069-DDAC-457A-97A7-358692896444}" dt="2023-06-28T15:55:46.243" v="6633" actId="20577"/>
          <ac:spMkLst>
            <pc:docMk/>
            <pc:sldMk cId="1230199307" sldId="372"/>
            <ac:spMk id="3" creationId="{BF96481A-49D2-42F8-2851-85D3436F7AE3}"/>
          </ac:spMkLst>
        </pc:spChg>
        <pc:spChg chg="add mod">
          <ac:chgData name="Schäfermeier, Bastian" userId="222eb8a9-5069-4046-88bd-a10549caffd0" providerId="ADAL" clId="{CD807069-DDAC-457A-97A7-358692896444}" dt="2023-06-28T15:56:30.626" v="6635" actId="1076"/>
          <ac:spMkLst>
            <pc:docMk/>
            <pc:sldMk cId="1230199307" sldId="372"/>
            <ac:spMk id="4" creationId="{4670DE83-A150-1B77-6D05-158A30BE1AAC}"/>
          </ac:spMkLst>
        </pc:spChg>
        <pc:spChg chg="add mod">
          <ac:chgData name="Schäfermeier, Bastian" userId="222eb8a9-5069-4046-88bd-a10549caffd0" providerId="ADAL" clId="{CD807069-DDAC-457A-97A7-358692896444}" dt="2023-06-28T15:56:43.368" v="6637" actId="1076"/>
          <ac:spMkLst>
            <pc:docMk/>
            <pc:sldMk cId="1230199307" sldId="372"/>
            <ac:spMk id="10" creationId="{AD986B22-5C96-7DA7-9016-BE7AC6048784}"/>
          </ac:spMkLst>
        </pc:spChg>
        <pc:spChg chg="add mod">
          <ac:chgData name="Schäfermeier, Bastian" userId="222eb8a9-5069-4046-88bd-a10549caffd0" providerId="ADAL" clId="{CD807069-DDAC-457A-97A7-358692896444}" dt="2023-06-28T15:55:16.646" v="6625" actId="20577"/>
          <ac:spMkLst>
            <pc:docMk/>
            <pc:sldMk cId="1230199307" sldId="372"/>
            <ac:spMk id="11" creationId="{E26CD25E-B5A6-DFDA-F075-93820F215764}"/>
          </ac:spMkLst>
        </pc:spChg>
      </pc:sldChg>
      <pc:sldChg chg="delSp modSp add del mod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2745834999" sldId="373"/>
        </pc:sldMkLst>
        <pc:spChg chg="mod">
          <ac:chgData name="Schäfermeier, Bastian" userId="222eb8a9-5069-4046-88bd-a10549caffd0" providerId="ADAL" clId="{CD807069-DDAC-457A-97A7-358692896444}" dt="2023-06-30T14:24:23.197" v="7399" actId="20577"/>
          <ac:spMkLst>
            <pc:docMk/>
            <pc:sldMk cId="2745834999" sldId="373"/>
            <ac:spMk id="2" creationId="{3023E634-4318-419C-B03F-D5665391FB05}"/>
          </ac:spMkLst>
        </pc:spChg>
        <pc:spChg chg="del">
          <ac:chgData name="Schäfermeier, Bastian" userId="222eb8a9-5069-4046-88bd-a10549caffd0" providerId="ADAL" clId="{CD807069-DDAC-457A-97A7-358692896444}" dt="2023-06-30T14:16:31.011" v="7282" actId="478"/>
          <ac:spMkLst>
            <pc:docMk/>
            <pc:sldMk cId="2745834999" sldId="373"/>
            <ac:spMk id="12" creationId="{1D2C5EAF-062B-0A90-F65C-9CED0F17A6EF}"/>
          </ac:spMkLst>
        </pc:spChg>
      </pc:sldChg>
      <pc:sldChg chg="addSp modSp new mod">
        <pc:chgData name="Schäfermeier, Bastian" userId="222eb8a9-5069-4046-88bd-a10549caffd0" providerId="ADAL" clId="{CD807069-DDAC-457A-97A7-358692896444}" dt="2023-07-12T07:26:32.403" v="8560" actId="1076"/>
        <pc:sldMkLst>
          <pc:docMk/>
          <pc:sldMk cId="2230245228" sldId="374"/>
        </pc:sldMkLst>
        <pc:spChg chg="mod">
          <ac:chgData name="Schäfermeier, Bastian" userId="222eb8a9-5069-4046-88bd-a10549caffd0" providerId="ADAL" clId="{CD807069-DDAC-457A-97A7-358692896444}" dt="2023-07-11T14:56:21.638" v="8073" actId="20577"/>
          <ac:spMkLst>
            <pc:docMk/>
            <pc:sldMk cId="2230245228" sldId="374"/>
            <ac:spMk id="2" creationId="{B83C7BEE-8B15-EC57-72C1-A7E58170F62F}"/>
          </ac:spMkLst>
        </pc:spChg>
        <pc:spChg chg="mod">
          <ac:chgData name="Schäfermeier, Bastian" userId="222eb8a9-5069-4046-88bd-a10549caffd0" providerId="ADAL" clId="{CD807069-DDAC-457A-97A7-358692896444}" dt="2023-07-11T15:00:37.330" v="8091" actId="20577"/>
          <ac:spMkLst>
            <pc:docMk/>
            <pc:sldMk cId="2230245228" sldId="374"/>
            <ac:spMk id="3" creationId="{39293632-79B1-F334-CE1B-3733D076D101}"/>
          </ac:spMkLst>
        </pc:spChg>
        <pc:spChg chg="mod">
          <ac:chgData name="Schäfermeier, Bastian" userId="222eb8a9-5069-4046-88bd-a10549caffd0" providerId="ADAL" clId="{CD807069-DDAC-457A-97A7-358692896444}" dt="2023-07-12T07:26:32.403" v="8560" actId="1076"/>
          <ac:spMkLst>
            <pc:docMk/>
            <pc:sldMk cId="2230245228" sldId="374"/>
            <ac:spMk id="4" creationId="{511DDBE1-5413-5DDE-4476-3C8707AD4BF7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1" creationId="{2C828996-A6A4-D849-BE74-DAED45CEE6EA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2" creationId="{29F52A4E-7325-A5A2-FC2B-9CD4DDEEAD16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3" creationId="{EDB7434F-C8D5-4436-4C80-8FB1DEADE4F2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4" creationId="{CAEA1F6D-D988-B440-7274-97FE5BDB2FA0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5" creationId="{37E9CAF0-9D88-B8E4-9164-6461A6D2207B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6" creationId="{78DFC4AE-7362-80B1-A398-7BF58C6B633C}"/>
          </ac:spMkLst>
        </pc:spChg>
        <pc:spChg chg="mod">
          <ac:chgData name="Schäfermeier, Bastian" userId="222eb8a9-5069-4046-88bd-a10549caffd0" providerId="ADAL" clId="{CD807069-DDAC-457A-97A7-358692896444}" dt="2023-07-12T07:26:26.401" v="8559"/>
          <ac:spMkLst>
            <pc:docMk/>
            <pc:sldMk cId="2230245228" sldId="374"/>
            <ac:spMk id="17" creationId="{34185115-A26A-5BEB-8014-4C7E62BE90A8}"/>
          </ac:spMkLst>
        </pc:spChg>
        <pc:grpChg chg="add mod">
          <ac:chgData name="Schäfermeier, Bastian" userId="222eb8a9-5069-4046-88bd-a10549caffd0" providerId="ADAL" clId="{CD807069-DDAC-457A-97A7-358692896444}" dt="2023-07-12T07:26:26.401" v="8559"/>
          <ac:grpSpMkLst>
            <pc:docMk/>
            <pc:sldMk cId="2230245228" sldId="374"/>
            <ac:grpSpMk id="8" creationId="{6E45B2BF-5E97-C70A-AF58-B277CBCC3BC0}"/>
          </ac:grpSpMkLst>
        </pc:grpChg>
        <pc:grpChg chg="mod">
          <ac:chgData name="Schäfermeier, Bastian" userId="222eb8a9-5069-4046-88bd-a10549caffd0" providerId="ADAL" clId="{CD807069-DDAC-457A-97A7-358692896444}" dt="2023-07-12T07:26:26.401" v="8559"/>
          <ac:grpSpMkLst>
            <pc:docMk/>
            <pc:sldMk cId="2230245228" sldId="374"/>
            <ac:grpSpMk id="9" creationId="{8FD5852D-C892-DFC5-A9F5-582DA44556F3}"/>
          </ac:grpSpMkLst>
        </pc:grpChg>
        <pc:grpChg chg="mod">
          <ac:chgData name="Schäfermeier, Bastian" userId="222eb8a9-5069-4046-88bd-a10549caffd0" providerId="ADAL" clId="{CD807069-DDAC-457A-97A7-358692896444}" dt="2023-07-12T07:26:26.401" v="8559"/>
          <ac:grpSpMkLst>
            <pc:docMk/>
            <pc:sldMk cId="2230245228" sldId="374"/>
            <ac:grpSpMk id="10" creationId="{6A054581-024C-13F9-CEDB-9FDA31CAE2D8}"/>
          </ac:grpSpMkLst>
        </pc:grpChg>
      </pc:sldChg>
      <pc:sldChg chg="addSp delSp modSp new del mod ord">
        <pc:chgData name="Schäfermeier, Bastian" userId="222eb8a9-5069-4046-88bd-a10549caffd0" providerId="ADAL" clId="{CD807069-DDAC-457A-97A7-358692896444}" dt="2023-07-14T11:38:24.900" v="11255" actId="47"/>
        <pc:sldMkLst>
          <pc:docMk/>
          <pc:sldMk cId="3996494919" sldId="375"/>
        </pc:sldMkLst>
        <pc:spChg chg="mod">
          <ac:chgData name="Schäfermeier, Bastian" userId="222eb8a9-5069-4046-88bd-a10549caffd0" providerId="ADAL" clId="{CD807069-DDAC-457A-97A7-358692896444}" dt="2023-07-12T09:03:12.684" v="8566" actId="20577"/>
          <ac:spMkLst>
            <pc:docMk/>
            <pc:sldMk cId="3996494919" sldId="375"/>
            <ac:spMk id="2" creationId="{CFBA56DE-4E6B-0799-5352-DB14BDEB3932}"/>
          </ac:spMkLst>
        </pc:spChg>
        <pc:spChg chg="add del mod">
          <ac:chgData name="Schäfermeier, Bastian" userId="222eb8a9-5069-4046-88bd-a10549caffd0" providerId="ADAL" clId="{CD807069-DDAC-457A-97A7-358692896444}" dt="2023-07-12T09:10:59.204" v="9396" actId="478"/>
          <ac:spMkLst>
            <pc:docMk/>
            <pc:sldMk cId="3996494919" sldId="375"/>
            <ac:spMk id="4" creationId="{E970C90E-0B72-B720-A4B9-CAE132F6BD63}"/>
          </ac:spMkLst>
        </pc:spChg>
        <pc:spChg chg="add del mod">
          <ac:chgData name="Schäfermeier, Bastian" userId="222eb8a9-5069-4046-88bd-a10549caffd0" providerId="ADAL" clId="{CD807069-DDAC-457A-97A7-358692896444}" dt="2023-07-12T09:07:40.254" v="9011" actId="478"/>
          <ac:spMkLst>
            <pc:docMk/>
            <pc:sldMk cId="3996494919" sldId="375"/>
            <ac:spMk id="8" creationId="{0BB611A2-D28C-5802-C424-BE992DEF76A1}"/>
          </ac:spMkLst>
        </pc:spChg>
        <pc:spChg chg="add mod">
          <ac:chgData name="Schäfermeier, Bastian" userId="222eb8a9-5069-4046-88bd-a10549caffd0" providerId="ADAL" clId="{CD807069-DDAC-457A-97A7-358692896444}" dt="2023-07-12T09:11:54.541" v="9463" actId="20577"/>
          <ac:spMkLst>
            <pc:docMk/>
            <pc:sldMk cId="3996494919" sldId="375"/>
            <ac:spMk id="9" creationId="{7D453D01-1567-722F-5F3F-D91932055036}"/>
          </ac:spMkLst>
        </pc:spChg>
        <pc:spChg chg="add del mod">
          <ac:chgData name="Schäfermeier, Bastian" userId="222eb8a9-5069-4046-88bd-a10549caffd0" providerId="ADAL" clId="{CD807069-DDAC-457A-97A7-358692896444}" dt="2023-07-12T09:10:34.894" v="9390" actId="478"/>
          <ac:spMkLst>
            <pc:docMk/>
            <pc:sldMk cId="3996494919" sldId="375"/>
            <ac:spMk id="11" creationId="{55EB18C6-655C-0305-3A36-B83977074A0A}"/>
          </ac:spMkLst>
        </pc:spChg>
        <pc:spChg chg="add del mod">
          <ac:chgData name="Schäfermeier, Bastian" userId="222eb8a9-5069-4046-88bd-a10549caffd0" providerId="ADAL" clId="{CD807069-DDAC-457A-97A7-358692896444}" dt="2023-07-12T09:10:45.055" v="9393" actId="478"/>
          <ac:spMkLst>
            <pc:docMk/>
            <pc:sldMk cId="3996494919" sldId="375"/>
            <ac:spMk id="13" creationId="{5A9EC857-FB8E-2CB3-B1A9-098EDD941C8D}"/>
          </ac:spMkLst>
        </pc:spChg>
      </pc:sldChg>
      <pc:sldChg chg="addSp delSp modSp add del mod ord">
        <pc:chgData name="Schäfermeier, Bastian" userId="222eb8a9-5069-4046-88bd-a10549caffd0" providerId="ADAL" clId="{CD807069-DDAC-457A-97A7-358692896444}" dt="2023-07-17T15:18:31.897" v="12629" actId="47"/>
        <pc:sldMkLst>
          <pc:docMk/>
          <pc:sldMk cId="482675647" sldId="376"/>
        </pc:sldMkLst>
        <pc:spChg chg="mod">
          <ac:chgData name="Schäfermeier, Bastian" userId="222eb8a9-5069-4046-88bd-a10549caffd0" providerId="ADAL" clId="{CD807069-DDAC-457A-97A7-358692896444}" dt="2023-07-13T11:35:05.039" v="10082" actId="20577"/>
          <ac:spMkLst>
            <pc:docMk/>
            <pc:sldMk cId="482675647" sldId="376"/>
            <ac:spMk id="2" creationId="{CFBA56DE-4E6B-0799-5352-DB14BDEB3932}"/>
          </ac:spMkLst>
        </pc:spChg>
        <pc:spChg chg="del">
          <ac:chgData name="Schäfermeier, Bastian" userId="222eb8a9-5069-4046-88bd-a10549caffd0" providerId="ADAL" clId="{CD807069-DDAC-457A-97A7-358692896444}" dt="2023-07-12T14:29:55.072" v="9665" actId="478"/>
          <ac:spMkLst>
            <pc:docMk/>
            <pc:sldMk cId="482675647" sldId="376"/>
            <ac:spMk id="9" creationId="{7D453D01-1567-722F-5F3F-D91932055036}"/>
          </ac:spMkLst>
        </pc:spChg>
        <pc:graphicFrameChg chg="add mod modGraphic">
          <ac:chgData name="Schäfermeier, Bastian" userId="222eb8a9-5069-4046-88bd-a10549caffd0" providerId="ADAL" clId="{CD807069-DDAC-457A-97A7-358692896444}" dt="2023-07-13T11:34:05.221" v="10011" actId="20577"/>
          <ac:graphicFrameMkLst>
            <pc:docMk/>
            <pc:sldMk cId="482675647" sldId="376"/>
            <ac:graphicFrameMk id="4" creationId="{3975B577-0784-3357-2C89-81C0FDDB9F53}"/>
          </ac:graphicFrameMkLst>
        </pc:graphicFrameChg>
      </pc:sldChg>
      <pc:sldChg chg="new del">
        <pc:chgData name="Schäfermeier, Bastian" userId="222eb8a9-5069-4046-88bd-a10549caffd0" providerId="ADAL" clId="{CD807069-DDAC-457A-97A7-358692896444}" dt="2023-07-12T09:10:02.948" v="9381" actId="680"/>
        <pc:sldMkLst>
          <pc:docMk/>
          <pc:sldMk cId="706180355" sldId="376"/>
        </pc:sldMkLst>
      </pc:sldChg>
      <pc:sldChg chg="addSp delSp modSp add mod ord">
        <pc:chgData name="Schäfermeier, Bastian" userId="222eb8a9-5069-4046-88bd-a10549caffd0" providerId="ADAL" clId="{CD807069-DDAC-457A-97A7-358692896444}" dt="2023-07-17T11:17:52.657" v="11896" actId="1076"/>
        <pc:sldMkLst>
          <pc:docMk/>
          <pc:sldMk cId="691796367" sldId="377"/>
        </pc:sldMkLst>
        <pc:spChg chg="mod">
          <ac:chgData name="Schäfermeier, Bastian" userId="222eb8a9-5069-4046-88bd-a10549caffd0" providerId="ADAL" clId="{CD807069-DDAC-457A-97A7-358692896444}" dt="2023-07-13T11:34:47.403" v="10024" actId="20577"/>
          <ac:spMkLst>
            <pc:docMk/>
            <pc:sldMk cId="691796367" sldId="377"/>
            <ac:spMk id="2" creationId="{CFBA56DE-4E6B-0799-5352-DB14BDEB3932}"/>
          </ac:spMkLst>
        </pc:spChg>
        <pc:spChg chg="mod">
          <ac:chgData name="Schäfermeier, Bastian" userId="222eb8a9-5069-4046-88bd-a10549caffd0" providerId="ADAL" clId="{CD807069-DDAC-457A-97A7-358692896444}" dt="2023-07-13T11:34:52.282" v="10043" actId="20577"/>
          <ac:spMkLst>
            <pc:docMk/>
            <pc:sldMk cId="691796367" sldId="377"/>
            <ac:spMk id="3" creationId="{A34EAE6D-EACD-29E9-7A6D-53F52F989FC8}"/>
          </ac:spMkLst>
        </pc:spChg>
        <pc:spChg chg="add del mod">
          <ac:chgData name="Schäfermeier, Bastian" userId="222eb8a9-5069-4046-88bd-a10549caffd0" providerId="ADAL" clId="{CD807069-DDAC-457A-97A7-358692896444}" dt="2023-07-13T11:40:22.052" v="10158" actId="478"/>
          <ac:spMkLst>
            <pc:docMk/>
            <pc:sldMk cId="691796367" sldId="377"/>
            <ac:spMk id="8" creationId="{0A5E1116-0ED6-E4BE-6CD6-56AD023E6F03}"/>
          </ac:spMkLst>
        </pc:spChg>
        <pc:spChg chg="del mod">
          <ac:chgData name="Schäfermeier, Bastian" userId="222eb8a9-5069-4046-88bd-a10549caffd0" providerId="ADAL" clId="{CD807069-DDAC-457A-97A7-358692896444}" dt="2023-07-13T11:31:40.699" v="9847" actId="478"/>
          <ac:spMkLst>
            <pc:docMk/>
            <pc:sldMk cId="691796367" sldId="377"/>
            <ac:spMk id="9" creationId="{7D453D01-1567-722F-5F3F-D91932055036}"/>
          </ac:spMkLst>
        </pc:spChg>
        <pc:spChg chg="add del mod">
          <ac:chgData name="Schäfermeier, Bastian" userId="222eb8a9-5069-4046-88bd-a10549caffd0" providerId="ADAL" clId="{CD807069-DDAC-457A-97A7-358692896444}" dt="2023-07-13T11:37:00.819" v="10091" actId="767"/>
          <ac:spMkLst>
            <pc:docMk/>
            <pc:sldMk cId="691796367" sldId="377"/>
            <ac:spMk id="10" creationId="{4BB01CCC-8169-7FC5-00B3-92F602067FAC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11" creationId="{07918B69-C7C6-6EF6-8BA4-ACCAC3D6991B}"/>
          </ac:spMkLst>
        </pc:spChg>
        <pc:spChg chg="add del">
          <ac:chgData name="Schäfermeier, Bastian" userId="222eb8a9-5069-4046-88bd-a10549caffd0" providerId="ADAL" clId="{CD807069-DDAC-457A-97A7-358692896444}" dt="2023-07-13T11:39:29.115" v="10151" actId="11529"/>
          <ac:spMkLst>
            <pc:docMk/>
            <pc:sldMk cId="691796367" sldId="377"/>
            <ac:spMk id="21" creationId="{843CE97F-664D-7A72-178A-788EAB31A6EE}"/>
          </ac:spMkLst>
        </pc:spChg>
        <pc:spChg chg="add del mod">
          <ac:chgData name="Schäfermeier, Bastian" userId="222eb8a9-5069-4046-88bd-a10549caffd0" providerId="ADAL" clId="{CD807069-DDAC-457A-97A7-358692896444}" dt="2023-07-14T14:56:57.258" v="11801" actId="478"/>
          <ac:spMkLst>
            <pc:docMk/>
            <pc:sldMk cId="691796367" sldId="377"/>
            <ac:spMk id="22" creationId="{04A03676-53E1-E517-0966-BC0C51611F88}"/>
          </ac:spMkLst>
        </pc:spChg>
        <pc:spChg chg="add del mod">
          <ac:chgData name="Schäfermeier, Bastian" userId="222eb8a9-5069-4046-88bd-a10549caffd0" providerId="ADAL" clId="{CD807069-DDAC-457A-97A7-358692896444}" dt="2023-07-14T14:56:57.258" v="11801" actId="478"/>
          <ac:spMkLst>
            <pc:docMk/>
            <pc:sldMk cId="691796367" sldId="377"/>
            <ac:spMk id="23" creationId="{BB4E2527-9A88-2A08-77CA-83854A5D42D7}"/>
          </ac:spMkLst>
        </pc:spChg>
        <pc:spChg chg="add del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29" creationId="{C331263E-C00B-7C77-6684-93264E58B331}"/>
          </ac:spMkLst>
        </pc:spChg>
        <pc:spChg chg="add del mod">
          <ac:chgData name="Schäfermeier, Bastian" userId="222eb8a9-5069-4046-88bd-a10549caffd0" providerId="ADAL" clId="{CD807069-DDAC-457A-97A7-358692896444}" dt="2023-07-14T14:57:06.824" v="11807" actId="478"/>
          <ac:spMkLst>
            <pc:docMk/>
            <pc:sldMk cId="691796367" sldId="377"/>
            <ac:spMk id="33" creationId="{90333006-F4D3-BE1F-5665-CD4E1E086188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34" creationId="{14C35CC8-4443-9648-87E3-CA7B56BF1288}"/>
          </ac:spMkLst>
        </pc:spChg>
        <pc:spChg chg="add del mod">
          <ac:chgData name="Schäfermeier, Bastian" userId="222eb8a9-5069-4046-88bd-a10549caffd0" providerId="ADAL" clId="{CD807069-DDAC-457A-97A7-358692896444}" dt="2023-07-14T14:47:36.437" v="11695" actId="478"/>
          <ac:spMkLst>
            <pc:docMk/>
            <pc:sldMk cId="691796367" sldId="377"/>
            <ac:spMk id="37" creationId="{FFF35573-E125-80E2-960C-B7510AE70427}"/>
          </ac:spMkLst>
        </pc:spChg>
        <pc:spChg chg="add del mod">
          <ac:chgData name="Schäfermeier, Bastian" userId="222eb8a9-5069-4046-88bd-a10549caffd0" providerId="ADAL" clId="{CD807069-DDAC-457A-97A7-358692896444}" dt="2023-07-14T14:56:57.258" v="11801" actId="478"/>
          <ac:spMkLst>
            <pc:docMk/>
            <pc:sldMk cId="691796367" sldId="377"/>
            <ac:spMk id="47" creationId="{1DFD68C4-2068-863F-3E25-E453478ACA23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49" creationId="{52BEA108-7583-7654-F8FA-B8C95164D47C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54" creationId="{93DC444F-452F-DDA9-9E52-841E23EF1B83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164" creationId="{3FD54B4E-84A9-0EA3-469F-24E436400DC5}"/>
          </ac:spMkLst>
        </pc:spChg>
        <pc:spChg chg="add mo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165" creationId="{EF0832C3-3B1A-6B30-DDE1-E8F527938916}"/>
          </ac:spMkLst>
        </pc:spChg>
        <pc:spChg chg="add del">
          <ac:chgData name="Schäfermeier, Bastian" userId="222eb8a9-5069-4046-88bd-a10549caffd0" providerId="ADAL" clId="{CD807069-DDAC-457A-97A7-358692896444}" dt="2023-07-14T14:57:44.018" v="11813" actId="478"/>
          <ac:spMkLst>
            <pc:docMk/>
            <pc:sldMk cId="691796367" sldId="377"/>
            <ac:spMk id="238" creationId="{1CB08559-4EEF-A386-FF55-674E162ED800}"/>
          </ac:spMkLst>
        </pc:spChg>
        <pc:spChg chg="add mod ord">
          <ac:chgData name="Schäfermeier, Bastian" userId="222eb8a9-5069-4046-88bd-a10549caffd0" providerId="ADAL" clId="{CD807069-DDAC-457A-97A7-358692896444}" dt="2023-07-17T11:17:52.657" v="11896" actId="1076"/>
          <ac:spMkLst>
            <pc:docMk/>
            <pc:sldMk cId="691796367" sldId="377"/>
            <ac:spMk id="239" creationId="{6CED81D3-AC26-6CA5-765D-158A6C338783}"/>
          </ac:spMkLst>
        </pc:spChg>
        <pc:picChg chg="add del mod">
          <ac:chgData name="Schäfermeier, Bastian" userId="222eb8a9-5069-4046-88bd-a10549caffd0" providerId="ADAL" clId="{CD807069-DDAC-457A-97A7-358692896444}" dt="2023-07-14T14:56:49.019" v="11800" actId="478"/>
          <ac:picMkLst>
            <pc:docMk/>
            <pc:sldMk cId="691796367" sldId="377"/>
            <ac:picMk id="4" creationId="{8E613A41-D8FC-BB98-1093-AEE0E91260B7}"/>
          </ac:picMkLst>
        </pc:picChg>
        <pc:cxnChg chg="add del mod">
          <ac:chgData name="Schäfermeier, Bastian" userId="222eb8a9-5069-4046-88bd-a10549caffd0" providerId="ADAL" clId="{CD807069-DDAC-457A-97A7-358692896444}" dt="2023-07-13T14:33:54.682" v="10573" actId="478"/>
          <ac:cxnSpMkLst>
            <pc:docMk/>
            <pc:sldMk cId="691796367" sldId="377"/>
            <ac:cxnSpMk id="13" creationId="{CDA0A85E-2F57-15B2-B4E7-0248890B425C}"/>
          </ac:cxnSpMkLst>
        </pc:cxnChg>
        <pc:cxnChg chg="add del mod">
          <ac:chgData name="Schäfermeier, Bastian" userId="222eb8a9-5069-4046-88bd-a10549caffd0" providerId="ADAL" clId="{CD807069-DDAC-457A-97A7-358692896444}" dt="2023-07-13T14:33:37.919" v="10565" actId="478"/>
          <ac:cxnSpMkLst>
            <pc:docMk/>
            <pc:sldMk cId="691796367" sldId="377"/>
            <ac:cxnSpMk id="26" creationId="{2C66F8A2-1A6C-B0B6-6B69-D1DDE89EDB0E}"/>
          </ac:cxnSpMkLst>
        </pc:cxnChg>
        <pc:cxnChg chg="add del mod">
          <ac:chgData name="Schäfermeier, Bastian" userId="222eb8a9-5069-4046-88bd-a10549caffd0" providerId="ADAL" clId="{CD807069-DDAC-457A-97A7-358692896444}" dt="2023-07-14T14:57:01.218" v="11804" actId="478"/>
          <ac:cxnSpMkLst>
            <pc:docMk/>
            <pc:sldMk cId="691796367" sldId="377"/>
            <ac:cxnSpMk id="46" creationId="{7C8586EC-F191-211A-D2D8-67E9DC5E64A6}"/>
          </ac:cxnSpMkLst>
        </pc:cxnChg>
        <pc:cxnChg chg="add del mod">
          <ac:chgData name="Schäfermeier, Bastian" userId="222eb8a9-5069-4046-88bd-a10549caffd0" providerId="ADAL" clId="{CD807069-DDAC-457A-97A7-358692896444}" dt="2023-07-13T14:33:29.009" v="10562" actId="478"/>
          <ac:cxnSpMkLst>
            <pc:docMk/>
            <pc:sldMk cId="691796367" sldId="377"/>
            <ac:cxnSpMk id="48" creationId="{BD2B8CC1-A9A8-5937-7ADB-EFB53ED17140}"/>
          </ac:cxnSpMkLst>
        </pc:cxnChg>
        <pc:cxnChg chg="add del mod">
          <ac:chgData name="Schäfermeier, Bastian" userId="222eb8a9-5069-4046-88bd-a10549caffd0" providerId="ADAL" clId="{CD807069-DDAC-457A-97A7-358692896444}" dt="2023-07-13T14:18:46.319" v="10513" actId="11529"/>
          <ac:cxnSpMkLst>
            <pc:docMk/>
            <pc:sldMk cId="691796367" sldId="377"/>
            <ac:cxnSpMk id="59" creationId="{52E93796-F35C-FC8D-1FD4-9F311D436243}"/>
          </ac:cxnSpMkLst>
        </pc:cxnChg>
        <pc:cxnChg chg="add mod">
          <ac:chgData name="Schäfermeier, Bastian" userId="222eb8a9-5069-4046-88bd-a10549caffd0" providerId="ADAL" clId="{CD807069-DDAC-457A-97A7-358692896444}" dt="2023-07-17T11:17:52.657" v="11896" actId="1076"/>
          <ac:cxnSpMkLst>
            <pc:docMk/>
            <pc:sldMk cId="691796367" sldId="377"/>
            <ac:cxnSpMk id="60" creationId="{F6EEC52F-A069-BA03-725F-2020627EAFFE}"/>
          </ac:cxnSpMkLst>
        </pc:cxnChg>
        <pc:cxnChg chg="add mod">
          <ac:chgData name="Schäfermeier, Bastian" userId="222eb8a9-5069-4046-88bd-a10549caffd0" providerId="ADAL" clId="{CD807069-DDAC-457A-97A7-358692896444}" dt="2023-07-17T11:17:52.657" v="11896" actId="1076"/>
          <ac:cxnSpMkLst>
            <pc:docMk/>
            <pc:sldMk cId="691796367" sldId="377"/>
            <ac:cxnSpMk id="63" creationId="{298557AE-559D-344A-439B-B40962FCB30D}"/>
          </ac:cxnSpMkLst>
        </pc:cxnChg>
        <pc:cxnChg chg="add del mod">
          <ac:chgData name="Schäfermeier, Bastian" userId="222eb8a9-5069-4046-88bd-a10549caffd0" providerId="ADAL" clId="{CD807069-DDAC-457A-97A7-358692896444}" dt="2023-07-13T14:29:26.940" v="10523" actId="11529"/>
          <ac:cxnSpMkLst>
            <pc:docMk/>
            <pc:sldMk cId="691796367" sldId="377"/>
            <ac:cxnSpMk id="67" creationId="{1B0FF90F-EEF0-5C68-73E8-8BA875A37D0E}"/>
          </ac:cxnSpMkLst>
        </pc:cxnChg>
        <pc:cxnChg chg="add del">
          <ac:chgData name="Schäfermeier, Bastian" userId="222eb8a9-5069-4046-88bd-a10549caffd0" providerId="ADAL" clId="{CD807069-DDAC-457A-97A7-358692896444}" dt="2023-07-13T14:30:29.469" v="10532" actId="11529"/>
          <ac:cxnSpMkLst>
            <pc:docMk/>
            <pc:sldMk cId="691796367" sldId="377"/>
            <ac:cxnSpMk id="70" creationId="{018C6CA4-15AF-066F-F2C8-3984716F84BE}"/>
          </ac:cxnSpMkLst>
        </pc:cxnChg>
        <pc:cxnChg chg="add mod">
          <ac:chgData name="Schäfermeier, Bastian" userId="222eb8a9-5069-4046-88bd-a10549caffd0" providerId="ADAL" clId="{CD807069-DDAC-457A-97A7-358692896444}" dt="2023-07-17T11:17:52.657" v="11896" actId="1076"/>
          <ac:cxnSpMkLst>
            <pc:docMk/>
            <pc:sldMk cId="691796367" sldId="377"/>
            <ac:cxnSpMk id="96" creationId="{B45711DF-D2B3-1A16-4C8A-D3E12301916D}"/>
          </ac:cxnSpMkLst>
        </pc:cxnChg>
        <pc:cxnChg chg="add del mod">
          <ac:chgData name="Schäfermeier, Bastian" userId="222eb8a9-5069-4046-88bd-a10549caffd0" providerId="ADAL" clId="{CD807069-DDAC-457A-97A7-358692896444}" dt="2023-07-13T14:33:48.719" v="10570" actId="478"/>
          <ac:cxnSpMkLst>
            <pc:docMk/>
            <pc:sldMk cId="691796367" sldId="377"/>
            <ac:cxnSpMk id="103" creationId="{B9C62D54-B77B-D19F-11A6-3569DCC014C4}"/>
          </ac:cxnSpMkLst>
        </pc:cxnChg>
        <pc:cxnChg chg="add del mod">
          <ac:chgData name="Schäfermeier, Bastian" userId="222eb8a9-5069-4046-88bd-a10549caffd0" providerId="ADAL" clId="{CD807069-DDAC-457A-97A7-358692896444}" dt="2023-07-14T14:57:02.348" v="11805" actId="478"/>
          <ac:cxnSpMkLst>
            <pc:docMk/>
            <pc:sldMk cId="691796367" sldId="377"/>
            <ac:cxnSpMk id="105" creationId="{C68043DC-BB88-DDC6-14B3-DC845F8362C0}"/>
          </ac:cxnSpMkLst>
        </pc:cxnChg>
        <pc:cxnChg chg="add del mod">
          <ac:chgData name="Schäfermeier, Bastian" userId="222eb8a9-5069-4046-88bd-a10549caffd0" providerId="ADAL" clId="{CD807069-DDAC-457A-97A7-358692896444}" dt="2023-07-14T14:52:13.637" v="11743" actId="478"/>
          <ac:cxnSpMkLst>
            <pc:docMk/>
            <pc:sldMk cId="691796367" sldId="377"/>
            <ac:cxnSpMk id="108" creationId="{86B6603F-3261-59C8-704B-1474AB4918FC}"/>
          </ac:cxnSpMkLst>
        </pc:cxnChg>
        <pc:cxnChg chg="add del mod">
          <ac:chgData name="Schäfermeier, Bastian" userId="222eb8a9-5069-4046-88bd-a10549caffd0" providerId="ADAL" clId="{CD807069-DDAC-457A-97A7-358692896444}" dt="2023-07-14T14:55:55.585" v="11790" actId="478"/>
          <ac:cxnSpMkLst>
            <pc:docMk/>
            <pc:sldMk cId="691796367" sldId="377"/>
            <ac:cxnSpMk id="111" creationId="{2B0DA6FA-096A-AA1C-9C1D-B4AD73CECB71}"/>
          </ac:cxnSpMkLst>
        </pc:cxnChg>
        <pc:cxnChg chg="add mod">
          <ac:chgData name="Schäfermeier, Bastian" userId="222eb8a9-5069-4046-88bd-a10549caffd0" providerId="ADAL" clId="{CD807069-DDAC-457A-97A7-358692896444}" dt="2023-07-17T11:17:52.657" v="11896" actId="1076"/>
          <ac:cxnSpMkLst>
            <pc:docMk/>
            <pc:sldMk cId="691796367" sldId="377"/>
            <ac:cxnSpMk id="214" creationId="{91AB7A80-C04A-D939-5627-6273537C4B52}"/>
          </ac:cxnSpMkLst>
        </pc:cxnChg>
        <pc:cxnChg chg="add del mod">
          <ac:chgData name="Schäfermeier, Bastian" userId="222eb8a9-5069-4046-88bd-a10549caffd0" providerId="ADAL" clId="{CD807069-DDAC-457A-97A7-358692896444}" dt="2023-07-14T14:57:00.188" v="11803" actId="478"/>
          <ac:cxnSpMkLst>
            <pc:docMk/>
            <pc:sldMk cId="691796367" sldId="377"/>
            <ac:cxnSpMk id="222" creationId="{3EB19E64-AFB5-1FE4-9382-F7A43426E5EC}"/>
          </ac:cxnSpMkLst>
        </pc:cxnChg>
        <pc:cxnChg chg="add del">
          <ac:chgData name="Schäfermeier, Bastian" userId="222eb8a9-5069-4046-88bd-a10549caffd0" providerId="ADAL" clId="{CD807069-DDAC-457A-97A7-358692896444}" dt="2023-07-14T14:54:38.733" v="11780" actId="11529"/>
          <ac:cxnSpMkLst>
            <pc:docMk/>
            <pc:sldMk cId="691796367" sldId="377"/>
            <ac:cxnSpMk id="225" creationId="{2DA4BB70-727C-2A47-ABCF-F67FD0A1B9FA}"/>
          </ac:cxnSpMkLst>
        </pc:cxnChg>
        <pc:cxnChg chg="add del">
          <ac:chgData name="Schäfermeier, Bastian" userId="222eb8a9-5069-4046-88bd-a10549caffd0" providerId="ADAL" clId="{CD807069-DDAC-457A-97A7-358692896444}" dt="2023-07-14T14:54:46.402" v="11782" actId="11529"/>
          <ac:cxnSpMkLst>
            <pc:docMk/>
            <pc:sldMk cId="691796367" sldId="377"/>
            <ac:cxnSpMk id="227" creationId="{5DDB266B-48AA-B6A2-D2D6-2116901F81FE}"/>
          </ac:cxnSpMkLst>
        </pc:cxnChg>
        <pc:cxnChg chg="add del mod">
          <ac:chgData name="Schäfermeier, Bastian" userId="222eb8a9-5069-4046-88bd-a10549caffd0" providerId="ADAL" clId="{CD807069-DDAC-457A-97A7-358692896444}" dt="2023-07-14T14:56:59.348" v="11802" actId="478"/>
          <ac:cxnSpMkLst>
            <pc:docMk/>
            <pc:sldMk cId="691796367" sldId="377"/>
            <ac:cxnSpMk id="229" creationId="{FF8E4A7F-3B24-BDFB-BF9F-6292EECE7A0D}"/>
          </ac:cxnSpMkLst>
        </pc:cxnChg>
        <pc:cxnChg chg="add mod">
          <ac:chgData name="Schäfermeier, Bastian" userId="222eb8a9-5069-4046-88bd-a10549caffd0" providerId="ADAL" clId="{CD807069-DDAC-457A-97A7-358692896444}" dt="2023-07-17T11:17:52.657" v="11896" actId="1076"/>
          <ac:cxnSpMkLst>
            <pc:docMk/>
            <pc:sldMk cId="691796367" sldId="377"/>
            <ac:cxnSpMk id="235" creationId="{6F144559-DD22-F098-DDA1-07B6621E5D4B}"/>
          </ac:cxnSpMkLst>
        </pc:cxnChg>
      </pc:sldChg>
      <pc:sldChg chg="modSp add mod">
        <pc:chgData name="Schäfermeier, Bastian" userId="222eb8a9-5069-4046-88bd-a10549caffd0" providerId="ADAL" clId="{CD807069-DDAC-457A-97A7-358692896444}" dt="2023-07-17T13:18:00.119" v="12027" actId="20577"/>
        <pc:sldMkLst>
          <pc:docMk/>
          <pc:sldMk cId="72472941" sldId="378"/>
        </pc:sldMkLst>
        <pc:spChg chg="mod">
          <ac:chgData name="Schäfermeier, Bastian" userId="222eb8a9-5069-4046-88bd-a10549caffd0" providerId="ADAL" clId="{CD807069-DDAC-457A-97A7-358692896444}" dt="2023-07-17T11:51:49.982" v="11941" actId="20577"/>
          <ac:spMkLst>
            <pc:docMk/>
            <pc:sldMk cId="72472941" sldId="378"/>
            <ac:spMk id="2" creationId="{CFBA56DE-4E6B-0799-5352-DB14BDEB3932}"/>
          </ac:spMkLst>
        </pc:spChg>
        <pc:spChg chg="mod">
          <ac:chgData name="Schäfermeier, Bastian" userId="222eb8a9-5069-4046-88bd-a10549caffd0" providerId="ADAL" clId="{CD807069-DDAC-457A-97A7-358692896444}" dt="2023-07-17T11:51:52.972" v="11946" actId="20577"/>
          <ac:spMkLst>
            <pc:docMk/>
            <pc:sldMk cId="72472941" sldId="378"/>
            <ac:spMk id="3" creationId="{A34EAE6D-EACD-29E9-7A6D-53F52F989FC8}"/>
          </ac:spMkLst>
        </pc:spChg>
        <pc:spChg chg="mod">
          <ac:chgData name="Schäfermeier, Bastian" userId="222eb8a9-5069-4046-88bd-a10549caffd0" providerId="ADAL" clId="{CD807069-DDAC-457A-97A7-358692896444}" dt="2023-07-17T13:18:00.119" v="12027" actId="20577"/>
          <ac:spMkLst>
            <pc:docMk/>
            <pc:sldMk cId="72472941" sldId="378"/>
            <ac:spMk id="9" creationId="{7D453D01-1567-722F-5F3F-D91932055036}"/>
          </ac:spMkLst>
        </pc:spChg>
      </pc:sldChg>
      <pc:sldChg chg="addSp delSp modSp add mod ord">
        <pc:chgData name="Schäfermeier, Bastian" userId="222eb8a9-5069-4046-88bd-a10549caffd0" providerId="ADAL" clId="{CD807069-DDAC-457A-97A7-358692896444}" dt="2023-07-17T13:59:57.077" v="12628" actId="20577"/>
        <pc:sldMkLst>
          <pc:docMk/>
          <pc:sldMk cId="447657309" sldId="379"/>
        </pc:sldMkLst>
        <pc:spChg chg="mod">
          <ac:chgData name="Schäfermeier, Bastian" userId="222eb8a9-5069-4046-88bd-a10549caffd0" providerId="ADAL" clId="{CD807069-DDAC-457A-97A7-358692896444}" dt="2023-07-14T14:31:26.231" v="11483" actId="20577"/>
          <ac:spMkLst>
            <pc:docMk/>
            <pc:sldMk cId="447657309" sldId="379"/>
            <ac:spMk id="2" creationId="{CFBA56DE-4E6B-0799-5352-DB14BDEB3932}"/>
          </ac:spMkLst>
        </pc:spChg>
        <pc:spChg chg="add del mod">
          <ac:chgData name="Schäfermeier, Bastian" userId="222eb8a9-5069-4046-88bd-a10549caffd0" providerId="ADAL" clId="{CD807069-DDAC-457A-97A7-358692896444}" dt="2023-07-14T14:34:02.892" v="11553" actId="478"/>
          <ac:spMkLst>
            <pc:docMk/>
            <pc:sldMk cId="447657309" sldId="379"/>
            <ac:spMk id="9" creationId="{7D453D01-1567-722F-5F3F-D91932055036}"/>
          </ac:spMkLst>
        </pc:spChg>
        <pc:graphicFrameChg chg="add mod modGraphic">
          <ac:chgData name="Schäfermeier, Bastian" userId="222eb8a9-5069-4046-88bd-a10549caffd0" providerId="ADAL" clId="{CD807069-DDAC-457A-97A7-358692896444}" dt="2023-07-17T13:59:57.077" v="12628" actId="20577"/>
          <ac:graphicFrameMkLst>
            <pc:docMk/>
            <pc:sldMk cId="447657309" sldId="379"/>
            <ac:graphicFrameMk id="4" creationId="{D52324BA-F527-09B6-BC45-E53AEF1FBFD5}"/>
          </ac:graphicFrameMkLst>
        </pc:graphicFrameChg>
      </pc:sldChg>
      <pc:sldChg chg="modSp add del mod">
        <pc:chgData name="Schäfermeier, Bastian" userId="222eb8a9-5069-4046-88bd-a10549caffd0" providerId="ADAL" clId="{CD807069-DDAC-457A-97A7-358692896444}" dt="2023-07-14T11:44:24.065" v="11333" actId="47"/>
        <pc:sldMkLst>
          <pc:docMk/>
          <pc:sldMk cId="3510942976" sldId="379"/>
        </pc:sldMkLst>
        <pc:spChg chg="mod">
          <ac:chgData name="Schäfermeier, Bastian" userId="222eb8a9-5069-4046-88bd-a10549caffd0" providerId="ADAL" clId="{CD807069-DDAC-457A-97A7-358692896444}" dt="2023-07-14T11:37:14.847" v="11254" actId="20577"/>
          <ac:spMkLst>
            <pc:docMk/>
            <pc:sldMk cId="3510942976" sldId="379"/>
            <ac:spMk id="9" creationId="{7D453D01-1567-722F-5F3F-D91932055036}"/>
          </ac:spMkLst>
        </pc:spChg>
      </pc:sldChg>
      <pc:sldChg chg="delSp modSp add mod ord">
        <pc:chgData name="Schäfermeier, Bastian" userId="222eb8a9-5069-4046-88bd-a10549caffd0" providerId="ADAL" clId="{CD807069-DDAC-457A-97A7-358692896444}" dt="2023-07-17T11:56:58.374" v="11972" actId="20577"/>
        <pc:sldMkLst>
          <pc:docMk/>
          <pc:sldMk cId="3702732689" sldId="380"/>
        </pc:sldMkLst>
        <pc:spChg chg="mod">
          <ac:chgData name="Schäfermeier, Bastian" userId="222eb8a9-5069-4046-88bd-a10549caffd0" providerId="ADAL" clId="{CD807069-DDAC-457A-97A7-358692896444}" dt="2023-07-17T11:56:53.807" v="11959" actId="20577"/>
          <ac:spMkLst>
            <pc:docMk/>
            <pc:sldMk cId="3702732689" sldId="380"/>
            <ac:spMk id="2" creationId="{CFBA56DE-4E6B-0799-5352-DB14BDEB3932}"/>
          </ac:spMkLst>
        </pc:spChg>
        <pc:spChg chg="mod">
          <ac:chgData name="Schäfermeier, Bastian" userId="222eb8a9-5069-4046-88bd-a10549caffd0" providerId="ADAL" clId="{CD807069-DDAC-457A-97A7-358692896444}" dt="2023-07-17T11:56:58.374" v="11972" actId="20577"/>
          <ac:spMkLst>
            <pc:docMk/>
            <pc:sldMk cId="3702732689" sldId="380"/>
            <ac:spMk id="3" creationId="{A34EAE6D-EACD-29E9-7A6D-53F52F989FC8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11" creationId="{07918B69-C7C6-6EF6-8BA4-ACCAC3D6991B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22" creationId="{04A03676-53E1-E517-0966-BC0C51611F88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23" creationId="{BB4E2527-9A88-2A08-77CA-83854A5D42D7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29" creationId="{C331263E-C00B-7C77-6684-93264E58B331}"/>
          </ac:spMkLst>
        </pc:spChg>
        <pc:spChg chg="del">
          <ac:chgData name="Schäfermeier, Bastian" userId="222eb8a9-5069-4046-88bd-a10549caffd0" providerId="ADAL" clId="{CD807069-DDAC-457A-97A7-358692896444}" dt="2023-07-14T14:16:54.924" v="11454" actId="478"/>
          <ac:spMkLst>
            <pc:docMk/>
            <pc:sldMk cId="3702732689" sldId="380"/>
            <ac:spMk id="33" creationId="{90333006-F4D3-BE1F-5665-CD4E1E086188}"/>
          </ac:spMkLst>
        </pc:spChg>
        <pc:spChg chg="del">
          <ac:chgData name="Schäfermeier, Bastian" userId="222eb8a9-5069-4046-88bd-a10549caffd0" providerId="ADAL" clId="{CD807069-DDAC-457A-97A7-358692896444}" dt="2023-07-14T14:16:54.924" v="11454" actId="478"/>
          <ac:spMkLst>
            <pc:docMk/>
            <pc:sldMk cId="3702732689" sldId="380"/>
            <ac:spMk id="34" creationId="{14C35CC8-4443-9648-87E3-CA7B56BF1288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37" creationId="{FFF35573-E125-80E2-960C-B7510AE70427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47" creationId="{1DFD68C4-2068-863F-3E25-E453478ACA23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49" creationId="{52BEA108-7583-7654-F8FA-B8C95164D47C}"/>
          </ac:spMkLst>
        </pc:spChg>
        <pc:spChg chg="del">
          <ac:chgData name="Schäfermeier, Bastian" userId="222eb8a9-5069-4046-88bd-a10549caffd0" providerId="ADAL" clId="{CD807069-DDAC-457A-97A7-358692896444}" dt="2023-07-14T14:16:50.224" v="11453" actId="478"/>
          <ac:spMkLst>
            <pc:docMk/>
            <pc:sldMk cId="3702732689" sldId="380"/>
            <ac:spMk id="54" creationId="{93DC444F-452F-DDA9-9E52-841E23EF1B83}"/>
          </ac:spMkLst>
        </pc:spChg>
        <pc:picChg chg="mod">
          <ac:chgData name="Schäfermeier, Bastian" userId="222eb8a9-5069-4046-88bd-a10549caffd0" providerId="ADAL" clId="{CD807069-DDAC-457A-97A7-358692896444}" dt="2023-07-14T14:17:26.078" v="11466" actId="1076"/>
          <ac:picMkLst>
            <pc:docMk/>
            <pc:sldMk cId="3702732689" sldId="380"/>
            <ac:picMk id="4" creationId="{8E613A41-D8FC-BB98-1093-AEE0E91260B7}"/>
          </ac:picMkLst>
        </pc:pic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46" creationId="{7C8586EC-F191-211A-D2D8-67E9DC5E64A6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60" creationId="{F6EEC52F-A069-BA03-725F-2020627EAFFE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63" creationId="{298557AE-559D-344A-439B-B40962FCB30D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96" creationId="{B45711DF-D2B3-1A16-4C8A-D3E12301916D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105" creationId="{C68043DC-BB88-DDC6-14B3-DC845F8362C0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108" creationId="{86B6603F-3261-59C8-704B-1474AB4918FC}"/>
          </ac:cxnSpMkLst>
        </pc:cxnChg>
        <pc:cxnChg chg="del mod">
          <ac:chgData name="Schäfermeier, Bastian" userId="222eb8a9-5069-4046-88bd-a10549caffd0" providerId="ADAL" clId="{CD807069-DDAC-457A-97A7-358692896444}" dt="2023-07-14T14:16:50.224" v="11453" actId="478"/>
          <ac:cxnSpMkLst>
            <pc:docMk/>
            <pc:sldMk cId="3702732689" sldId="380"/>
            <ac:cxnSpMk id="111" creationId="{2B0DA6FA-096A-AA1C-9C1D-B4AD73CECB71}"/>
          </ac:cxnSpMkLst>
        </pc:cxnChg>
      </pc:sldChg>
    </pc:docChg>
  </pc:docChgLst>
  <pc:docChgLst>
    <pc:chgData name="Schäfermeier, Bastian" userId="222eb8a9-5069-4046-88bd-a10549caffd0" providerId="ADAL" clId="{B4ACD474-49D2-4D84-9005-F7EE5DAE3349}"/>
    <pc:docChg chg="undo custSel addSld delSld modSld sldOrd modSection">
      <pc:chgData name="Schäfermeier, Bastian" userId="222eb8a9-5069-4046-88bd-a10549caffd0" providerId="ADAL" clId="{B4ACD474-49D2-4D84-9005-F7EE5DAE3349}" dt="2024-05-02T08:35:03.186" v="2595" actId="2696"/>
      <pc:docMkLst>
        <pc:docMk/>
      </pc:docMkLst>
      <pc:sldChg chg="modSp mod">
        <pc:chgData name="Schäfermeier, Bastian" userId="222eb8a9-5069-4046-88bd-a10549caffd0" providerId="ADAL" clId="{B4ACD474-49D2-4D84-9005-F7EE5DAE3349}" dt="2024-04-17T08:16:34.925" v="133" actId="20577"/>
        <pc:sldMkLst>
          <pc:docMk/>
          <pc:sldMk cId="3162220561" sldId="355"/>
        </pc:sldMkLst>
        <pc:spChg chg="mod">
          <ac:chgData name="Schäfermeier, Bastian" userId="222eb8a9-5069-4046-88bd-a10549caffd0" providerId="ADAL" clId="{B4ACD474-49D2-4D84-9005-F7EE5DAE3349}" dt="2024-04-17T08:16:34.925" v="133" actId="20577"/>
          <ac:spMkLst>
            <pc:docMk/>
            <pc:sldMk cId="3162220561" sldId="355"/>
            <ac:spMk id="5" creationId="{74E97DF8-C1D4-4738-8989-E78F9E0E9897}"/>
          </ac:spMkLst>
        </pc:spChg>
      </pc:sldChg>
      <pc:sldChg chg="del">
        <pc:chgData name="Schäfermeier, Bastian" userId="222eb8a9-5069-4046-88bd-a10549caffd0" providerId="ADAL" clId="{B4ACD474-49D2-4D84-9005-F7EE5DAE3349}" dt="2024-04-16T13:21:31.822" v="58" actId="47"/>
        <pc:sldMkLst>
          <pc:docMk/>
          <pc:sldMk cId="1407938641" sldId="382"/>
        </pc:sldMkLst>
      </pc:sldChg>
      <pc:sldChg chg="del">
        <pc:chgData name="Schäfermeier, Bastian" userId="222eb8a9-5069-4046-88bd-a10549caffd0" providerId="ADAL" clId="{B4ACD474-49D2-4D84-9005-F7EE5DAE3349}" dt="2024-04-16T13:21:24.128" v="57" actId="47"/>
        <pc:sldMkLst>
          <pc:docMk/>
          <pc:sldMk cId="3907646048" sldId="383"/>
        </pc:sldMkLst>
      </pc:sldChg>
      <pc:sldChg chg="addSp delSp modSp mod">
        <pc:chgData name="Schäfermeier, Bastian" userId="222eb8a9-5069-4046-88bd-a10549caffd0" providerId="ADAL" clId="{B4ACD474-49D2-4D84-9005-F7EE5DAE3349}" dt="2024-04-17T08:42:58.625" v="758" actId="20577"/>
        <pc:sldMkLst>
          <pc:docMk/>
          <pc:sldMk cId="2770105539" sldId="385"/>
        </pc:sldMkLst>
        <pc:spChg chg="mod">
          <ac:chgData name="Schäfermeier, Bastian" userId="222eb8a9-5069-4046-88bd-a10549caffd0" providerId="ADAL" clId="{B4ACD474-49D2-4D84-9005-F7EE5DAE3349}" dt="2024-04-17T08:42:58.625" v="758" actId="20577"/>
          <ac:spMkLst>
            <pc:docMk/>
            <pc:sldMk cId="2770105539" sldId="385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4ACD474-49D2-4D84-9005-F7EE5DAE3349}" dt="2024-04-17T08:41:13.438" v="528" actId="20577"/>
          <ac:spMkLst>
            <pc:docMk/>
            <pc:sldMk cId="2770105539" sldId="385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B4ACD474-49D2-4D84-9005-F7EE5DAE3349}" dt="2024-04-16T13:21:09.241" v="54" actId="478"/>
          <ac:spMkLst>
            <pc:docMk/>
            <pc:sldMk cId="2770105539" sldId="385"/>
            <ac:spMk id="93" creationId="{A51A7BD9-088F-7E7F-9326-B7B36A0F3433}"/>
          </ac:spMkLst>
        </pc:spChg>
        <pc:grpChg chg="del">
          <ac:chgData name="Schäfermeier, Bastian" userId="222eb8a9-5069-4046-88bd-a10549caffd0" providerId="ADAL" clId="{B4ACD474-49D2-4D84-9005-F7EE5DAE3349}" dt="2024-04-16T13:21:09.241" v="54" actId="478"/>
          <ac:grpSpMkLst>
            <pc:docMk/>
            <pc:sldMk cId="2770105539" sldId="385"/>
            <ac:grpSpMk id="23" creationId="{253E9675-2687-AE59-6A21-9E8DE1189704}"/>
          </ac:grpSpMkLst>
        </pc:grpChg>
        <pc:grpChg chg="del">
          <ac:chgData name="Schäfermeier, Bastian" userId="222eb8a9-5069-4046-88bd-a10549caffd0" providerId="ADAL" clId="{B4ACD474-49D2-4D84-9005-F7EE5DAE3349}" dt="2024-04-16T13:21:09.241" v="54" actId="478"/>
          <ac:grpSpMkLst>
            <pc:docMk/>
            <pc:sldMk cId="2770105539" sldId="385"/>
            <ac:grpSpMk id="57" creationId="{7EF79356-848C-D871-87DF-98452D6EF442}"/>
          </ac:grpSpMkLst>
        </pc:grpChg>
        <pc:picChg chg="del">
          <ac:chgData name="Schäfermeier, Bastian" userId="222eb8a9-5069-4046-88bd-a10549caffd0" providerId="ADAL" clId="{B4ACD474-49D2-4D84-9005-F7EE5DAE3349}" dt="2024-04-16T13:21:09.241" v="54" actId="478"/>
          <ac:picMkLst>
            <pc:docMk/>
            <pc:sldMk cId="2770105539" sldId="385"/>
            <ac:picMk id="8" creationId="{3E40E7CF-AF39-0BBB-F66C-4A5EC301C6B7}"/>
          </ac:picMkLst>
        </pc:picChg>
        <pc:picChg chg="add mod">
          <ac:chgData name="Schäfermeier, Bastian" userId="222eb8a9-5069-4046-88bd-a10549caffd0" providerId="ADAL" clId="{B4ACD474-49D2-4D84-9005-F7EE5DAE3349}" dt="2024-04-17T08:37:41.375" v="493" actId="1076"/>
          <ac:picMkLst>
            <pc:docMk/>
            <pc:sldMk cId="2770105539" sldId="385"/>
            <ac:picMk id="10" creationId="{6DD04377-DAB4-5282-D9CF-150967895FB9}"/>
          </ac:picMkLst>
        </pc:picChg>
        <pc:cxnChg chg="del">
          <ac:chgData name="Schäfermeier, Bastian" userId="222eb8a9-5069-4046-88bd-a10549caffd0" providerId="ADAL" clId="{B4ACD474-49D2-4D84-9005-F7EE5DAE3349}" dt="2024-04-16T13:21:09.241" v="54" actId="478"/>
          <ac:cxnSpMkLst>
            <pc:docMk/>
            <pc:sldMk cId="2770105539" sldId="385"/>
            <ac:cxnSpMk id="77" creationId="{9A940E3D-F851-E976-0551-A83837A6B110}"/>
          </ac:cxnSpMkLst>
        </pc:cxnChg>
        <pc:cxnChg chg="del">
          <ac:chgData name="Schäfermeier, Bastian" userId="222eb8a9-5069-4046-88bd-a10549caffd0" providerId="ADAL" clId="{B4ACD474-49D2-4D84-9005-F7EE5DAE3349}" dt="2024-04-16T13:21:09.241" v="54" actId="478"/>
          <ac:cxnSpMkLst>
            <pc:docMk/>
            <pc:sldMk cId="2770105539" sldId="385"/>
            <ac:cxnSpMk id="79" creationId="{D9A09F25-90E0-F76C-D931-DD6F9DB0876E}"/>
          </ac:cxnSpMkLst>
        </pc:cxnChg>
        <pc:cxnChg chg="del">
          <ac:chgData name="Schäfermeier, Bastian" userId="222eb8a9-5069-4046-88bd-a10549caffd0" providerId="ADAL" clId="{B4ACD474-49D2-4D84-9005-F7EE5DAE3349}" dt="2024-04-16T13:21:09.241" v="54" actId="478"/>
          <ac:cxnSpMkLst>
            <pc:docMk/>
            <pc:sldMk cId="2770105539" sldId="385"/>
            <ac:cxnSpMk id="81" creationId="{F84BEA51-2AA9-7CCD-E43A-F71BCEDAA037}"/>
          </ac:cxnSpMkLst>
        </pc:cxnChg>
        <pc:cxnChg chg="del">
          <ac:chgData name="Schäfermeier, Bastian" userId="222eb8a9-5069-4046-88bd-a10549caffd0" providerId="ADAL" clId="{B4ACD474-49D2-4D84-9005-F7EE5DAE3349}" dt="2024-04-16T13:21:09.241" v="54" actId="478"/>
          <ac:cxnSpMkLst>
            <pc:docMk/>
            <pc:sldMk cId="2770105539" sldId="385"/>
            <ac:cxnSpMk id="88" creationId="{EAFD5E68-90D6-F668-2F65-7399C944C411}"/>
          </ac:cxnSpMkLst>
        </pc:cxnChg>
        <pc:cxnChg chg="del">
          <ac:chgData name="Schäfermeier, Bastian" userId="222eb8a9-5069-4046-88bd-a10549caffd0" providerId="ADAL" clId="{B4ACD474-49D2-4D84-9005-F7EE5DAE3349}" dt="2024-04-16T13:21:09.241" v="54" actId="478"/>
          <ac:cxnSpMkLst>
            <pc:docMk/>
            <pc:sldMk cId="2770105539" sldId="385"/>
            <ac:cxnSpMk id="92" creationId="{5C198A6A-248E-C46E-E44E-DD68776AE096}"/>
          </ac:cxnSpMkLst>
        </pc:cxnChg>
      </pc:sldChg>
      <pc:sldChg chg="addSp delSp modSp add del mod ord modShow">
        <pc:chgData name="Schäfermeier, Bastian" userId="222eb8a9-5069-4046-88bd-a10549caffd0" providerId="ADAL" clId="{B4ACD474-49D2-4D84-9005-F7EE5DAE3349}" dt="2024-04-17T08:59:33.942" v="1234" actId="47"/>
        <pc:sldMkLst>
          <pc:docMk/>
          <pc:sldMk cId="667354035" sldId="386"/>
        </pc:sldMkLst>
        <pc:picChg chg="add mod">
          <ac:chgData name="Schäfermeier, Bastian" userId="222eb8a9-5069-4046-88bd-a10549caffd0" providerId="ADAL" clId="{B4ACD474-49D2-4D84-9005-F7EE5DAE3349}" dt="2024-04-17T07:23:47.417" v="116" actId="1076"/>
          <ac:picMkLst>
            <pc:docMk/>
            <pc:sldMk cId="667354035" sldId="386"/>
            <ac:picMk id="8" creationId="{C780EB09-5B33-9161-D581-0E33BCB135EA}"/>
          </ac:picMkLst>
        </pc:picChg>
        <pc:picChg chg="del">
          <ac:chgData name="Schäfermeier, Bastian" userId="222eb8a9-5069-4046-88bd-a10549caffd0" providerId="ADAL" clId="{B4ACD474-49D2-4D84-9005-F7EE5DAE3349}" dt="2024-04-17T07:23:43.233" v="113" actId="478"/>
          <ac:picMkLst>
            <pc:docMk/>
            <pc:sldMk cId="667354035" sldId="386"/>
            <ac:picMk id="10" creationId="{6DD04377-DAB4-5282-D9CF-150967895FB9}"/>
          </ac:picMkLst>
        </pc:picChg>
      </pc:sldChg>
      <pc:sldChg chg="del">
        <pc:chgData name="Schäfermeier, Bastian" userId="222eb8a9-5069-4046-88bd-a10549caffd0" providerId="ADAL" clId="{B4ACD474-49D2-4D84-9005-F7EE5DAE3349}" dt="2024-04-16T13:21:12.951" v="55" actId="47"/>
        <pc:sldMkLst>
          <pc:docMk/>
          <pc:sldMk cId="726224777" sldId="386"/>
        </pc:sldMkLst>
      </pc:sldChg>
      <pc:sldChg chg="del">
        <pc:chgData name="Schäfermeier, Bastian" userId="222eb8a9-5069-4046-88bd-a10549caffd0" providerId="ADAL" clId="{B4ACD474-49D2-4D84-9005-F7EE5DAE3349}" dt="2024-04-16T13:21:19.408" v="56" actId="47"/>
        <pc:sldMkLst>
          <pc:docMk/>
          <pc:sldMk cId="1845485557" sldId="387"/>
        </pc:sldMkLst>
      </pc:sldChg>
      <pc:sldChg chg="addSp delSp modSp add del mod">
        <pc:chgData name="Schäfermeier, Bastian" userId="222eb8a9-5069-4046-88bd-a10549caffd0" providerId="ADAL" clId="{B4ACD474-49D2-4D84-9005-F7EE5DAE3349}" dt="2024-04-17T08:51:09.593" v="763" actId="47"/>
        <pc:sldMkLst>
          <pc:docMk/>
          <pc:sldMk cId="4230046787" sldId="387"/>
        </pc:sldMkLst>
        <pc:picChg chg="del">
          <ac:chgData name="Schäfermeier, Bastian" userId="222eb8a9-5069-4046-88bd-a10549caffd0" providerId="ADAL" clId="{B4ACD474-49D2-4D84-9005-F7EE5DAE3349}" dt="2024-04-17T08:16:08.127" v="118" actId="478"/>
          <ac:picMkLst>
            <pc:docMk/>
            <pc:sldMk cId="4230046787" sldId="387"/>
            <ac:picMk id="8" creationId="{C780EB09-5B33-9161-D581-0E33BCB135EA}"/>
          </ac:picMkLst>
        </pc:picChg>
        <pc:picChg chg="add mod">
          <ac:chgData name="Schäfermeier, Bastian" userId="222eb8a9-5069-4046-88bd-a10549caffd0" providerId="ADAL" clId="{B4ACD474-49D2-4D84-9005-F7EE5DAE3349}" dt="2024-04-17T08:16:14.356" v="121" actId="1076"/>
          <ac:picMkLst>
            <pc:docMk/>
            <pc:sldMk cId="4230046787" sldId="387"/>
            <ac:picMk id="10" creationId="{1A854956-09DA-4244-3C7C-82740750D367}"/>
          </ac:picMkLst>
        </pc:picChg>
      </pc:sldChg>
      <pc:sldChg chg="add del">
        <pc:chgData name="Schäfermeier, Bastian" userId="222eb8a9-5069-4046-88bd-a10549caffd0" providerId="ADAL" clId="{B4ACD474-49D2-4D84-9005-F7EE5DAE3349}" dt="2024-04-17T08:18:01.950" v="138" actId="47"/>
        <pc:sldMkLst>
          <pc:docMk/>
          <pc:sldMk cId="2385099630" sldId="388"/>
        </pc:sldMkLst>
      </pc:sldChg>
      <pc:sldChg chg="addSp delSp modSp new del">
        <pc:chgData name="Schäfermeier, Bastian" userId="222eb8a9-5069-4046-88bd-a10549caffd0" providerId="ADAL" clId="{B4ACD474-49D2-4D84-9005-F7EE5DAE3349}" dt="2024-04-17T08:18:49.113" v="143" actId="47"/>
        <pc:sldMkLst>
          <pc:docMk/>
          <pc:sldMk cId="3502311915" sldId="388"/>
        </pc:sldMkLst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9" creationId="{D3E6E3B4-2C1C-DDB6-D3C6-01ADEC8E1C75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0" creationId="{DA9FDF8D-F6C1-2CFA-AF4D-9C4CD61467CF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2" creationId="{418BB3E9-11BA-455D-17BF-BE76D78758BE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5" creationId="{081FD990-4A68-E20A-FCC5-478B3DC90979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6" creationId="{0D59CE2D-C5B8-CBA0-4282-D6C46A9FCCC8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8" creationId="{06DF46A1-D4E7-B7FD-544E-58E72186560D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19" creationId="{C7BB767D-5430-7468-7C66-A9D19305DDEF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21" creationId="{E5DE6EC0-D8BD-8270-0553-9625D64F8829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22" creationId="{88EF788D-50A3-5B40-E036-5332969DE966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24" creationId="{AC3B5FB5-4689-58E7-A563-7A5FD572DA71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26" creationId="{F2231F5B-A5CD-7FFA-B37F-6C3C325DC363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28" creationId="{A765AAAE-6DBC-347A-98BA-C1D41C6925CC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30" creationId="{E27C54A2-6B45-4E34-D082-1F11047DA1BA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33" creationId="{0AB58A6E-C998-B9DD-1CCB-333B6B951943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35" creationId="{ECB4C97B-A6DE-847D-2E3A-C457DE9CBE43}"/>
          </ac:spMkLst>
        </pc:spChg>
        <pc:spChg chg="mod">
          <ac:chgData name="Schäfermeier, Bastian" userId="222eb8a9-5069-4046-88bd-a10549caffd0" providerId="ADAL" clId="{B4ACD474-49D2-4D84-9005-F7EE5DAE3349}" dt="2024-04-17T08:18:44.010" v="140"/>
          <ac:spMkLst>
            <pc:docMk/>
            <pc:sldMk cId="3502311915" sldId="388"/>
            <ac:spMk id="39" creationId="{BFED617D-F3DE-3F1A-D319-B1E1DDB40613}"/>
          </ac:spMkLst>
        </pc:spChg>
        <pc:spChg chg="mod">
          <ac:chgData name="Schäfermeier, Bastian" userId="222eb8a9-5069-4046-88bd-a10549caffd0" providerId="ADAL" clId="{B4ACD474-49D2-4D84-9005-F7EE5DAE3349}" dt="2024-04-17T08:18:44.010" v="140"/>
          <ac:spMkLst>
            <pc:docMk/>
            <pc:sldMk cId="3502311915" sldId="388"/>
            <ac:spMk id="40" creationId="{EC3A7DCA-92BB-5E63-F6AB-4BCFEF833225}"/>
          </ac:spMkLst>
        </pc:spChg>
        <pc:spChg chg="mod">
          <ac:chgData name="Schäfermeier, Bastian" userId="222eb8a9-5069-4046-88bd-a10549caffd0" providerId="ADAL" clId="{B4ACD474-49D2-4D84-9005-F7EE5DAE3349}" dt="2024-04-17T08:18:44.010" v="140"/>
          <ac:spMkLst>
            <pc:docMk/>
            <pc:sldMk cId="3502311915" sldId="388"/>
            <ac:spMk id="41" creationId="{110BBF67-03CD-32F4-CA4A-A8A63BF1A267}"/>
          </ac:spMkLst>
        </pc:spChg>
        <pc:spChg chg="add del mod">
          <ac:chgData name="Schäfermeier, Bastian" userId="222eb8a9-5069-4046-88bd-a10549caffd0" providerId="ADAL" clId="{B4ACD474-49D2-4D84-9005-F7EE5DAE3349}" dt="2024-04-17T08:18:45.659" v="141"/>
          <ac:spMkLst>
            <pc:docMk/>
            <pc:sldMk cId="3502311915" sldId="388"/>
            <ac:spMk id="43" creationId="{22ED4374-6404-24A1-5D1D-D4D3EA3940D1}"/>
          </ac:spMkLst>
        </pc:spChg>
        <pc:grpChg chg="add del mod">
          <ac:chgData name="Schäfermeier, Bastian" userId="222eb8a9-5069-4046-88bd-a10549caffd0" providerId="ADAL" clId="{B4ACD474-49D2-4D84-9005-F7EE5DAE3349}" dt="2024-04-17T08:18:45.659" v="141"/>
          <ac:grpSpMkLst>
            <pc:docMk/>
            <pc:sldMk cId="3502311915" sldId="388"/>
            <ac:grpSpMk id="37" creationId="{B5E3495E-CF2E-3106-0F86-7B4F05436F55}"/>
          </ac:grpSpMkLst>
        </pc:grpChg>
        <pc:grpChg chg="mod">
          <ac:chgData name="Schäfermeier, Bastian" userId="222eb8a9-5069-4046-88bd-a10549caffd0" providerId="ADAL" clId="{B4ACD474-49D2-4D84-9005-F7EE5DAE3349}" dt="2024-04-17T08:18:44.010" v="140"/>
          <ac:grpSpMkLst>
            <pc:docMk/>
            <pc:sldMk cId="3502311915" sldId="388"/>
            <ac:grpSpMk id="38" creationId="{D3DF575B-09B8-D4D3-E828-55453C3D9A4F}"/>
          </ac:grpSpMkLst>
        </pc:grpChg>
        <pc:picChg chg="add del mod">
          <ac:chgData name="Schäfermeier, Bastian" userId="222eb8a9-5069-4046-88bd-a10549caffd0" providerId="ADAL" clId="{B4ACD474-49D2-4D84-9005-F7EE5DAE3349}" dt="2024-04-17T08:18:45.659" v="141"/>
          <ac:picMkLst>
            <pc:docMk/>
            <pc:sldMk cId="3502311915" sldId="388"/>
            <ac:picMk id="8" creationId="{5A79A08D-B546-D88F-F34E-E9F8537CF29E}"/>
          </ac:picMkLst>
        </pc:picChg>
        <pc:picChg chg="add del mod">
          <ac:chgData name="Schäfermeier, Bastian" userId="222eb8a9-5069-4046-88bd-a10549caffd0" providerId="ADAL" clId="{B4ACD474-49D2-4D84-9005-F7EE5DAE3349}" dt="2024-04-17T08:18:45.659" v="141"/>
          <ac:picMkLst>
            <pc:docMk/>
            <pc:sldMk cId="3502311915" sldId="388"/>
            <ac:picMk id="20" creationId="{748A884E-E6E3-5305-8130-AC614752A71A}"/>
          </ac:picMkLst>
        </pc:picChg>
        <pc:picChg chg="add del mod">
          <ac:chgData name="Schäfermeier, Bastian" userId="222eb8a9-5069-4046-88bd-a10549caffd0" providerId="ADAL" clId="{B4ACD474-49D2-4D84-9005-F7EE5DAE3349}" dt="2024-04-17T08:18:45.659" v="141"/>
          <ac:picMkLst>
            <pc:docMk/>
            <pc:sldMk cId="3502311915" sldId="388"/>
            <ac:picMk id="36" creationId="{3F9C1C3F-7E0D-8770-E5EF-80F49634EA5A}"/>
          </ac:picMkLst>
        </pc:picChg>
        <pc:picChg chg="add del mod">
          <ac:chgData name="Schäfermeier, Bastian" userId="222eb8a9-5069-4046-88bd-a10549caffd0" providerId="ADAL" clId="{B4ACD474-49D2-4D84-9005-F7EE5DAE3349}" dt="2024-04-17T08:18:45.659" v="141"/>
          <ac:picMkLst>
            <pc:docMk/>
            <pc:sldMk cId="3502311915" sldId="388"/>
            <ac:picMk id="42" creationId="{01525B2A-0CFB-9EA0-1C94-FDDDD866B747}"/>
          </ac:picMkLst>
        </pc:pic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11" creationId="{7BE8DEF1-75F7-9651-09CA-268D7358F858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13" creationId="{5A257472-9F6E-086F-E470-6B5EFEF091E0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14" creationId="{066CE8B7-C058-DC5D-E117-ECEE69742E01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17" creationId="{D2C99110-BE8F-B799-1A0C-8F394D4B169D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23" creationId="{BD9AD517-195E-9E1B-5F72-EC10307F9BC2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25" creationId="{98CF365D-73F4-6FB4-2E98-086DF10B52EE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27" creationId="{8252B8B0-C83E-9296-DAAB-B8FCE27E2D05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29" creationId="{6DDD07B3-55C7-4996-2B5A-237A2123E226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31" creationId="{C813D8E4-8A04-C52B-1BE9-83120FD18625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32" creationId="{DCA61DF3-225D-8BD1-897B-37EE29B2F556}"/>
          </ac:cxnSpMkLst>
        </pc:cxnChg>
        <pc:cxnChg chg="add del mod">
          <ac:chgData name="Schäfermeier, Bastian" userId="222eb8a9-5069-4046-88bd-a10549caffd0" providerId="ADAL" clId="{B4ACD474-49D2-4D84-9005-F7EE5DAE3349}" dt="2024-04-17T08:18:45.659" v="141"/>
          <ac:cxnSpMkLst>
            <pc:docMk/>
            <pc:sldMk cId="3502311915" sldId="388"/>
            <ac:cxnSpMk id="34" creationId="{BEE63450-D482-9A5D-903C-A2899BCDA946}"/>
          </ac:cxnSpMkLst>
        </pc:cxnChg>
      </pc:sldChg>
      <pc:sldChg chg="addSp delSp modSp add mod ord">
        <pc:chgData name="Schäfermeier, Bastian" userId="222eb8a9-5069-4046-88bd-a10549caffd0" providerId="ADAL" clId="{B4ACD474-49D2-4D84-9005-F7EE5DAE3349}" dt="2024-04-17T08:56:15.895" v="1055"/>
        <pc:sldMkLst>
          <pc:docMk/>
          <pc:sldMk cId="4115235854" sldId="389"/>
        </pc:sldMkLst>
        <pc:spChg chg="del">
          <ac:chgData name="Schäfermeier, Bastian" userId="222eb8a9-5069-4046-88bd-a10549caffd0" providerId="ADAL" clId="{B4ACD474-49D2-4D84-9005-F7EE5DAE3349}" dt="2024-04-17T08:18:53.002" v="144" actId="478"/>
          <ac:spMkLst>
            <pc:docMk/>
            <pc:sldMk cId="4115235854" sldId="389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4ACD474-49D2-4D84-9005-F7EE5DAE3349}" dt="2024-04-17T08:29:29.403" v="337" actId="20577"/>
          <ac:spMkLst>
            <pc:docMk/>
            <pc:sldMk cId="4115235854" sldId="389"/>
            <ac:spMk id="7" creationId="{22464388-2ECA-4EEA-8E18-9F2C9F7BAE36}"/>
          </ac:spMkLst>
        </pc:spChg>
        <pc:spChg chg="add del mod">
          <ac:chgData name="Schäfermeier, Bastian" userId="222eb8a9-5069-4046-88bd-a10549caffd0" providerId="ADAL" clId="{B4ACD474-49D2-4D84-9005-F7EE5DAE3349}" dt="2024-04-17T08:24:15.845" v="237" actId="478"/>
          <ac:spMkLst>
            <pc:docMk/>
            <pc:sldMk cId="4115235854" sldId="389"/>
            <ac:spMk id="8" creationId="{22F42B9E-18EF-9DC0-678A-E420A3AB43F0}"/>
          </ac:spMkLst>
        </pc:spChg>
        <pc:spChg chg="add del mod">
          <ac:chgData name="Schäfermeier, Bastian" userId="222eb8a9-5069-4046-88bd-a10549caffd0" providerId="ADAL" clId="{B4ACD474-49D2-4D84-9005-F7EE5DAE3349}" dt="2024-04-17T08:24:17.792" v="238" actId="478"/>
          <ac:spMkLst>
            <pc:docMk/>
            <pc:sldMk cId="4115235854" sldId="389"/>
            <ac:spMk id="11" creationId="{32DD2D53-8D33-1653-1AC1-471DF4960015}"/>
          </ac:spMkLst>
        </pc:spChg>
        <pc:spChg chg="add del mod">
          <ac:chgData name="Schäfermeier, Bastian" userId="222eb8a9-5069-4046-88bd-a10549caffd0" providerId="ADAL" clId="{B4ACD474-49D2-4D84-9005-F7EE5DAE3349}" dt="2024-04-17T08:24:15.845" v="237" actId="478"/>
          <ac:spMkLst>
            <pc:docMk/>
            <pc:sldMk cId="4115235854" sldId="389"/>
            <ac:spMk id="13" creationId="{E6011513-00FF-F105-D10E-3EBC76401E13}"/>
          </ac:spMkLst>
        </pc:spChg>
        <pc:spChg chg="add del mod">
          <ac:chgData name="Schäfermeier, Bastian" userId="222eb8a9-5069-4046-88bd-a10549caffd0" providerId="ADAL" clId="{B4ACD474-49D2-4D84-9005-F7EE5DAE3349}" dt="2024-04-17T08:24:15.845" v="237" actId="478"/>
          <ac:spMkLst>
            <pc:docMk/>
            <pc:sldMk cId="4115235854" sldId="389"/>
            <ac:spMk id="16" creationId="{D6727A45-EC4E-FFD4-D97D-FB74BBBC7ED1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17" creationId="{103563E6-40B3-66F6-3A40-7EEC65D609F7}"/>
          </ac:spMkLst>
        </pc:spChg>
        <pc:spChg chg="add del mod">
          <ac:chgData name="Schäfermeier, Bastian" userId="222eb8a9-5069-4046-88bd-a10549caffd0" providerId="ADAL" clId="{B4ACD474-49D2-4D84-9005-F7EE5DAE3349}" dt="2024-04-17T08:24:20.244" v="239" actId="478"/>
          <ac:spMkLst>
            <pc:docMk/>
            <pc:sldMk cId="4115235854" sldId="389"/>
            <ac:spMk id="19" creationId="{7581518A-C423-4C97-DD10-23D09527BEF9}"/>
          </ac:spMkLst>
        </pc:spChg>
        <pc:spChg chg="add del mod">
          <ac:chgData name="Schäfermeier, Bastian" userId="222eb8a9-5069-4046-88bd-a10549caffd0" providerId="ADAL" clId="{B4ACD474-49D2-4D84-9005-F7EE5DAE3349}" dt="2024-04-17T08:24:20.244" v="239" actId="478"/>
          <ac:spMkLst>
            <pc:docMk/>
            <pc:sldMk cId="4115235854" sldId="389"/>
            <ac:spMk id="20" creationId="{7B6BE6CA-47E2-705F-4192-AE7C2BDA79C7}"/>
          </ac:spMkLst>
        </pc:spChg>
        <pc:spChg chg="add mod">
          <ac:chgData name="Schäfermeier, Bastian" userId="222eb8a9-5069-4046-88bd-a10549caffd0" providerId="ADAL" clId="{B4ACD474-49D2-4D84-9005-F7EE5DAE3349}" dt="2024-04-17T08:23:35.396" v="228" actId="1076"/>
          <ac:spMkLst>
            <pc:docMk/>
            <pc:sldMk cId="4115235854" sldId="389"/>
            <ac:spMk id="22" creationId="{36B98290-E62E-ED05-147C-B90F22A4DD3A}"/>
          </ac:spMkLst>
        </pc:spChg>
        <pc:spChg chg="add del mod">
          <ac:chgData name="Schäfermeier, Bastian" userId="222eb8a9-5069-4046-88bd-a10549caffd0" providerId="ADAL" clId="{B4ACD474-49D2-4D84-9005-F7EE5DAE3349}" dt="2024-04-17T08:28:38.540" v="323" actId="478"/>
          <ac:spMkLst>
            <pc:docMk/>
            <pc:sldMk cId="4115235854" sldId="389"/>
            <ac:spMk id="23" creationId="{5BC15DC7-8CAF-391D-2D68-506B30E18BAA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25" creationId="{F9392D83-9FC1-2578-4707-46E75D47D64F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27" creationId="{266C2BD9-61A9-AD0B-F142-BAB94250ED48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29" creationId="{0B308649-A80B-1FF9-9BE7-D1DD7F462D42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31" creationId="{C6A85CF9-7AE7-13FE-D049-D592F25C645E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34" creationId="{854D9EE7-D3BC-D93B-DD68-8FED49872748}"/>
          </ac:spMkLst>
        </pc:spChg>
        <pc:spChg chg="add del mod">
          <ac:chgData name="Schäfermeier, Bastian" userId="222eb8a9-5069-4046-88bd-a10549caffd0" providerId="ADAL" clId="{B4ACD474-49D2-4D84-9005-F7EE5DAE3349}" dt="2024-04-17T08:34:03.913" v="384" actId="478"/>
          <ac:spMkLst>
            <pc:docMk/>
            <pc:sldMk cId="4115235854" sldId="389"/>
            <ac:spMk id="36" creationId="{82AE8698-FBD6-6D29-0485-6B21D6063E35}"/>
          </ac:spMkLst>
        </pc:spChg>
        <pc:spChg chg="mod">
          <ac:chgData name="Schäfermeier, Bastian" userId="222eb8a9-5069-4046-88bd-a10549caffd0" providerId="ADAL" clId="{B4ACD474-49D2-4D84-9005-F7EE5DAE3349}" dt="2024-04-17T08:31:40.635" v="361" actId="20577"/>
          <ac:spMkLst>
            <pc:docMk/>
            <pc:sldMk cId="4115235854" sldId="389"/>
            <ac:spMk id="40" creationId="{DE2C8785-D4F1-80FD-1087-AD9E5C50AFCF}"/>
          </ac:spMkLst>
        </pc:spChg>
        <pc:spChg chg="mod">
          <ac:chgData name="Schäfermeier, Bastian" userId="222eb8a9-5069-4046-88bd-a10549caffd0" providerId="ADAL" clId="{B4ACD474-49D2-4D84-9005-F7EE5DAE3349}" dt="2024-04-17T08:18:56.545" v="145"/>
          <ac:spMkLst>
            <pc:docMk/>
            <pc:sldMk cId="4115235854" sldId="389"/>
            <ac:spMk id="41" creationId="{01C18F38-8986-0118-96AB-2F5A26B3086C}"/>
          </ac:spMkLst>
        </pc:spChg>
        <pc:spChg chg="mod">
          <ac:chgData name="Schäfermeier, Bastian" userId="222eb8a9-5069-4046-88bd-a10549caffd0" providerId="ADAL" clId="{B4ACD474-49D2-4D84-9005-F7EE5DAE3349}" dt="2024-04-17T08:18:56.545" v="145"/>
          <ac:spMkLst>
            <pc:docMk/>
            <pc:sldMk cId="4115235854" sldId="389"/>
            <ac:spMk id="42" creationId="{3E671492-F9EE-43D9-34E3-06D3DCF75C0E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44" creationId="{D9010445-F25C-40D5-5426-208C4C67EBB8}"/>
          </ac:spMkLst>
        </pc:spChg>
        <pc:spChg chg="add del mod">
          <ac:chgData name="Schäfermeier, Bastian" userId="222eb8a9-5069-4046-88bd-a10549caffd0" providerId="ADAL" clId="{B4ACD474-49D2-4D84-9005-F7EE5DAE3349}" dt="2024-04-17T08:26:51.959" v="310" actId="478"/>
          <ac:spMkLst>
            <pc:docMk/>
            <pc:sldMk cId="4115235854" sldId="389"/>
            <ac:spMk id="45" creationId="{BD73FE41-C6DE-BC15-9224-ED2A02C56238}"/>
          </ac:spMkLst>
        </pc:spChg>
        <pc:spChg chg="add del">
          <ac:chgData name="Schäfermeier, Bastian" userId="222eb8a9-5069-4046-88bd-a10549caffd0" providerId="ADAL" clId="{B4ACD474-49D2-4D84-9005-F7EE5DAE3349}" dt="2024-04-17T08:32:20.552" v="370" actId="22"/>
          <ac:spMkLst>
            <pc:docMk/>
            <pc:sldMk cId="4115235854" sldId="389"/>
            <ac:spMk id="81" creationId="{CB3672D9-1F52-AC26-0514-DC81EB57D761}"/>
          </ac:spMkLst>
        </pc:spChg>
        <pc:spChg chg="add mod">
          <ac:chgData name="Schäfermeier, Bastian" userId="222eb8a9-5069-4046-88bd-a10549caffd0" providerId="ADAL" clId="{B4ACD474-49D2-4D84-9005-F7EE5DAE3349}" dt="2024-04-17T08:36:38.325" v="418" actId="1076"/>
          <ac:spMkLst>
            <pc:docMk/>
            <pc:sldMk cId="4115235854" sldId="389"/>
            <ac:spMk id="86" creationId="{79603C62-8339-F779-6239-F49337B8AF67}"/>
          </ac:spMkLst>
        </pc:spChg>
        <pc:grpChg chg="add mod">
          <ac:chgData name="Schäfermeier, Bastian" userId="222eb8a9-5069-4046-88bd-a10549caffd0" providerId="ADAL" clId="{B4ACD474-49D2-4D84-9005-F7EE5DAE3349}" dt="2024-04-17T08:36:38.325" v="418" actId="1076"/>
          <ac:grpSpMkLst>
            <pc:docMk/>
            <pc:sldMk cId="4115235854" sldId="389"/>
            <ac:grpSpMk id="38" creationId="{679F3D5C-0681-1701-B9BF-C8AD0AED8FD5}"/>
          </ac:grpSpMkLst>
        </pc:grpChg>
        <pc:grpChg chg="mod">
          <ac:chgData name="Schäfermeier, Bastian" userId="222eb8a9-5069-4046-88bd-a10549caffd0" providerId="ADAL" clId="{B4ACD474-49D2-4D84-9005-F7EE5DAE3349}" dt="2024-04-17T08:18:56.545" v="145"/>
          <ac:grpSpMkLst>
            <pc:docMk/>
            <pc:sldMk cId="4115235854" sldId="389"/>
            <ac:grpSpMk id="39" creationId="{C2F6F3F1-1E28-2A45-76C3-869C3FFE4C3E}"/>
          </ac:grpSpMkLst>
        </pc:grpChg>
        <pc:picChg chg="add del mod">
          <ac:chgData name="Schäfermeier, Bastian" userId="222eb8a9-5069-4046-88bd-a10549caffd0" providerId="ADAL" clId="{B4ACD474-49D2-4D84-9005-F7EE5DAE3349}" dt="2024-04-17T08:24:20.244" v="239" actId="478"/>
          <ac:picMkLst>
            <pc:docMk/>
            <pc:sldMk cId="4115235854" sldId="389"/>
            <ac:picMk id="2" creationId="{222A8D6D-0FEB-02CA-BA4B-65F78CE33EB4}"/>
          </ac:picMkLst>
        </pc:picChg>
        <pc:picChg chg="del">
          <ac:chgData name="Schäfermeier, Bastian" userId="222eb8a9-5069-4046-88bd-a10549caffd0" providerId="ADAL" clId="{B4ACD474-49D2-4D84-9005-F7EE5DAE3349}" dt="2024-04-17T08:18:53.002" v="144" actId="478"/>
          <ac:picMkLst>
            <pc:docMk/>
            <pc:sldMk cId="4115235854" sldId="389"/>
            <ac:picMk id="10" creationId="{1A854956-09DA-4244-3C7C-82740750D367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21" creationId="{A1561A00-7E13-7A8F-600B-528ECDBFEED0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37" creationId="{EC461C1F-6F5F-BFD6-4624-EBB1EE97BB10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43" creationId="{A3591F62-9E03-4AD2-FE45-C44C8A8B22B5}"/>
          </ac:picMkLst>
        </pc:picChg>
        <pc:picChg chg="add del mod">
          <ac:chgData name="Schäfermeier, Bastian" userId="222eb8a9-5069-4046-88bd-a10549caffd0" providerId="ADAL" clId="{B4ACD474-49D2-4D84-9005-F7EE5DAE3349}" dt="2024-04-17T08:21:18.554" v="189" actId="478"/>
          <ac:picMkLst>
            <pc:docMk/>
            <pc:sldMk cId="4115235854" sldId="389"/>
            <ac:picMk id="47" creationId="{15CCB8A8-859A-A6AD-7498-7622941B78AE}"/>
          </ac:picMkLst>
        </pc:picChg>
        <pc:picChg chg="add del mod">
          <ac:chgData name="Schäfermeier, Bastian" userId="222eb8a9-5069-4046-88bd-a10549caffd0" providerId="ADAL" clId="{B4ACD474-49D2-4D84-9005-F7EE5DAE3349}" dt="2024-04-17T08:21:49.469" v="191" actId="478"/>
          <ac:picMkLst>
            <pc:docMk/>
            <pc:sldMk cId="4115235854" sldId="389"/>
            <ac:picMk id="49" creationId="{F424B07E-D778-87B4-1BC7-CFA5C53A6E65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51" creationId="{EAF14B8F-AED4-0091-DEC7-0E98ED85F429}"/>
          </ac:picMkLst>
        </pc:picChg>
        <pc:picChg chg="add del mod">
          <ac:chgData name="Schäfermeier, Bastian" userId="222eb8a9-5069-4046-88bd-a10549caffd0" providerId="ADAL" clId="{B4ACD474-49D2-4D84-9005-F7EE5DAE3349}" dt="2024-04-17T08:26:31.685" v="305" actId="478"/>
          <ac:picMkLst>
            <pc:docMk/>
            <pc:sldMk cId="4115235854" sldId="389"/>
            <ac:picMk id="61" creationId="{389298F5-7FBF-A468-9965-8AC8C67C370E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63" creationId="{26032EA4-80A0-3295-6272-72A8566D8F16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67" creationId="{98E8E7CD-091A-B8FB-D037-E8D535CBB48C}"/>
          </ac:picMkLst>
        </pc:picChg>
        <pc:picChg chg="add del mod">
          <ac:chgData name="Schäfermeier, Bastian" userId="222eb8a9-5069-4046-88bd-a10549caffd0" providerId="ADAL" clId="{B4ACD474-49D2-4D84-9005-F7EE5DAE3349}" dt="2024-04-17T08:30:19.165" v="344" actId="478"/>
          <ac:picMkLst>
            <pc:docMk/>
            <pc:sldMk cId="4115235854" sldId="389"/>
            <ac:picMk id="69" creationId="{088AE844-5502-B592-A270-3214D7DD666E}"/>
          </ac:picMkLst>
        </pc:picChg>
        <pc:picChg chg="add del">
          <ac:chgData name="Schäfermeier, Bastian" userId="222eb8a9-5069-4046-88bd-a10549caffd0" providerId="ADAL" clId="{B4ACD474-49D2-4D84-9005-F7EE5DAE3349}" dt="2024-04-17T08:30:17.509" v="342" actId="22"/>
          <ac:picMkLst>
            <pc:docMk/>
            <pc:sldMk cId="4115235854" sldId="389"/>
            <ac:picMk id="71" creationId="{F8CA42B2-E350-30B2-A11D-A935EC20C007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73" creationId="{7B4E9812-517B-F806-4C3D-C2A6F2D07A88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75" creationId="{2105E004-6AB9-57E3-92B2-5621639D0856}"/>
          </ac:picMkLst>
        </pc:picChg>
        <pc:picChg chg="add del mod">
          <ac:chgData name="Schäfermeier, Bastian" userId="222eb8a9-5069-4046-88bd-a10549caffd0" providerId="ADAL" clId="{B4ACD474-49D2-4D84-9005-F7EE5DAE3349}" dt="2024-04-17T08:31:16.493" v="355" actId="478"/>
          <ac:picMkLst>
            <pc:docMk/>
            <pc:sldMk cId="4115235854" sldId="389"/>
            <ac:picMk id="77" creationId="{10A2F2DD-67CB-1B2F-E5D2-A13BD583CFC2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79" creationId="{932BCC0E-1751-2167-CEEF-6A0563224882}"/>
          </ac:picMkLst>
        </pc:picChg>
        <pc:picChg chg="add mod">
          <ac:chgData name="Schäfermeier, Bastian" userId="222eb8a9-5069-4046-88bd-a10549caffd0" providerId="ADAL" clId="{B4ACD474-49D2-4D84-9005-F7EE5DAE3349}" dt="2024-04-17T08:36:38.325" v="418" actId="1076"/>
          <ac:picMkLst>
            <pc:docMk/>
            <pc:sldMk cId="4115235854" sldId="389"/>
            <ac:picMk id="83" creationId="{E660B6EB-2713-2B10-1C73-83453D645BEB}"/>
          </ac:picMkLst>
        </pc:picChg>
        <pc:picChg chg="add mod ord">
          <ac:chgData name="Schäfermeier, Bastian" userId="222eb8a9-5069-4046-88bd-a10549caffd0" providerId="ADAL" clId="{B4ACD474-49D2-4D84-9005-F7EE5DAE3349}" dt="2024-04-17T08:40:07.153" v="525" actId="1076"/>
          <ac:picMkLst>
            <pc:docMk/>
            <pc:sldMk cId="4115235854" sldId="389"/>
            <ac:picMk id="87" creationId="{3D454908-CB4E-D8C2-E087-CA6C05D91A8C}"/>
          </ac:picMkLst>
        </pc:picChg>
        <pc:picChg chg="add mod">
          <ac:chgData name="Schäfermeier, Bastian" userId="222eb8a9-5069-4046-88bd-a10549caffd0" providerId="ADAL" clId="{B4ACD474-49D2-4D84-9005-F7EE5DAE3349}" dt="2024-04-17T08:39:37.050" v="517" actId="1076"/>
          <ac:picMkLst>
            <pc:docMk/>
            <pc:sldMk cId="4115235854" sldId="389"/>
            <ac:picMk id="89" creationId="{3CCD6503-B5AF-352B-98B7-27673BB8AB9B}"/>
          </ac:picMkLst>
        </pc:picChg>
        <pc:picChg chg="add mod">
          <ac:chgData name="Schäfermeier, Bastian" userId="222eb8a9-5069-4046-88bd-a10549caffd0" providerId="ADAL" clId="{B4ACD474-49D2-4D84-9005-F7EE5DAE3349}" dt="2024-04-17T08:39:37.050" v="517" actId="1076"/>
          <ac:picMkLst>
            <pc:docMk/>
            <pc:sldMk cId="4115235854" sldId="389"/>
            <ac:picMk id="90" creationId="{DBAA6AE1-06D4-6BF1-9241-CBCACCC3D31F}"/>
          </ac:picMkLst>
        </pc:picChg>
        <pc:picChg chg="add mod">
          <ac:chgData name="Schäfermeier, Bastian" userId="222eb8a9-5069-4046-88bd-a10549caffd0" providerId="ADAL" clId="{B4ACD474-49D2-4D84-9005-F7EE5DAE3349}" dt="2024-04-17T08:39:37.050" v="517" actId="1076"/>
          <ac:picMkLst>
            <pc:docMk/>
            <pc:sldMk cId="4115235854" sldId="389"/>
            <ac:picMk id="91" creationId="{440FF3C7-30BC-E321-1757-A46FBF3B87E2}"/>
          </ac:picMkLst>
        </pc:picChg>
        <pc:picChg chg="add mod">
          <ac:chgData name="Schäfermeier, Bastian" userId="222eb8a9-5069-4046-88bd-a10549caffd0" providerId="ADAL" clId="{B4ACD474-49D2-4D84-9005-F7EE5DAE3349}" dt="2024-04-17T08:39:37.050" v="517" actId="1076"/>
          <ac:picMkLst>
            <pc:docMk/>
            <pc:sldMk cId="4115235854" sldId="389"/>
            <ac:picMk id="92" creationId="{49642DD0-8EC8-33D9-FFCD-90016BCB5E83}"/>
          </ac:picMkLst>
        </pc:picChg>
        <pc:cxnChg chg="add del mod">
          <ac:chgData name="Schäfermeier, Bastian" userId="222eb8a9-5069-4046-88bd-a10549caffd0" providerId="ADAL" clId="{B4ACD474-49D2-4D84-9005-F7EE5DAE3349}" dt="2024-04-17T08:24:15.845" v="237" actId="478"/>
          <ac:cxnSpMkLst>
            <pc:docMk/>
            <pc:sldMk cId="4115235854" sldId="389"/>
            <ac:cxnSpMk id="12" creationId="{CD84BEC6-73B8-497D-DBDA-C2DFFEA8AF4A}"/>
          </ac:cxnSpMkLst>
        </pc:cxnChg>
        <pc:cxnChg chg="add del mod">
          <ac:chgData name="Schäfermeier, Bastian" userId="222eb8a9-5069-4046-88bd-a10549caffd0" providerId="ADAL" clId="{B4ACD474-49D2-4D84-9005-F7EE5DAE3349}" dt="2024-04-17T08:24:15.845" v="237" actId="478"/>
          <ac:cxnSpMkLst>
            <pc:docMk/>
            <pc:sldMk cId="4115235854" sldId="389"/>
            <ac:cxnSpMk id="14" creationId="{05A5EAEE-DDA6-D6C0-A05A-E4BB5987B148}"/>
          </ac:cxnSpMkLst>
        </pc:cxnChg>
        <pc:cxnChg chg="add del mod">
          <ac:chgData name="Schäfermeier, Bastian" userId="222eb8a9-5069-4046-88bd-a10549caffd0" providerId="ADAL" clId="{B4ACD474-49D2-4D84-9005-F7EE5DAE3349}" dt="2024-04-17T08:24:15.845" v="237" actId="478"/>
          <ac:cxnSpMkLst>
            <pc:docMk/>
            <pc:sldMk cId="4115235854" sldId="389"/>
            <ac:cxnSpMk id="15" creationId="{A6BB8FA5-BAE7-E47D-608E-BFF30672EE59}"/>
          </ac:cxnSpMkLst>
        </pc:cxnChg>
        <pc:cxnChg chg="add del mod">
          <ac:chgData name="Schäfermeier, Bastian" userId="222eb8a9-5069-4046-88bd-a10549caffd0" providerId="ADAL" clId="{B4ACD474-49D2-4D84-9005-F7EE5DAE3349}" dt="2024-04-17T08:24:21.190" v="240" actId="478"/>
          <ac:cxnSpMkLst>
            <pc:docMk/>
            <pc:sldMk cId="4115235854" sldId="389"/>
            <ac:cxnSpMk id="18" creationId="{97A8682B-761C-0A13-91F1-C7F061E9BEF8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24" creationId="{B4751A6C-91C2-084A-9794-D821045AFD38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26" creationId="{1389867A-5F89-C03F-E8A5-56DC35A63986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28" creationId="{96851DDE-92B8-42D7-47ED-979B3F971B76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30" creationId="{23A1E916-1CDE-AE8C-638E-9A885E3A34FC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32" creationId="{C8D8CF73-A50D-98C9-BEF4-821B2407ADA0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33" creationId="{C6DEC7A6-6C5F-31AF-A211-A49D54C3D90B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35" creationId="{9B958505-F4A0-8D6B-4DEF-C566F68EEDE2}"/>
          </ac:cxnSpMkLst>
        </pc:cxnChg>
        <pc:cxnChg chg="add del mod">
          <ac:chgData name="Schäfermeier, Bastian" userId="222eb8a9-5069-4046-88bd-a10549caffd0" providerId="ADAL" clId="{B4ACD474-49D2-4D84-9005-F7EE5DAE3349}" dt="2024-04-17T08:23:49.712" v="232" actId="478"/>
          <ac:cxnSpMkLst>
            <pc:docMk/>
            <pc:sldMk cId="4115235854" sldId="389"/>
            <ac:cxnSpMk id="52" creationId="{E2803769-3306-7F7A-FF12-1B8AB75A64FD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53" creationId="{11666DC7-5731-1F0D-B61A-EE0E55536375}"/>
          </ac:cxnSpMkLst>
        </pc:cxnChg>
        <pc:cxnChg chg="add mod">
          <ac:chgData name="Schäfermeier, Bastian" userId="222eb8a9-5069-4046-88bd-a10549caffd0" providerId="ADAL" clId="{B4ACD474-49D2-4D84-9005-F7EE5DAE3349}" dt="2024-04-17T08:36:38.325" v="418" actId="1076"/>
          <ac:cxnSpMkLst>
            <pc:docMk/>
            <pc:sldMk cId="4115235854" sldId="389"/>
            <ac:cxnSpMk id="54" creationId="{9C0653A6-BE57-329D-6AD3-1C189B303EA0}"/>
          </ac:cxnSpMkLst>
        </pc:cxnChg>
      </pc:sldChg>
      <pc:sldChg chg="addSp delSp modSp add mod">
        <pc:chgData name="Schäfermeier, Bastian" userId="222eb8a9-5069-4046-88bd-a10549caffd0" providerId="ADAL" clId="{B4ACD474-49D2-4D84-9005-F7EE5DAE3349}" dt="2024-04-17T08:57:40.904" v="1161" actId="20577"/>
        <pc:sldMkLst>
          <pc:docMk/>
          <pc:sldMk cId="2790896528" sldId="390"/>
        </pc:sldMkLst>
        <pc:spChg chg="mod">
          <ac:chgData name="Schäfermeier, Bastian" userId="222eb8a9-5069-4046-88bd-a10549caffd0" providerId="ADAL" clId="{B4ACD474-49D2-4D84-9005-F7EE5DAE3349}" dt="2024-04-17T08:57:40.904" v="1161" actId="20577"/>
          <ac:spMkLst>
            <pc:docMk/>
            <pc:sldMk cId="2790896528" sldId="390"/>
            <ac:spMk id="5" creationId="{DBCE971E-BC53-5208-D0B0-346B7A5D6E36}"/>
          </ac:spMkLst>
        </pc:spChg>
        <pc:picChg chg="add mod">
          <ac:chgData name="Schäfermeier, Bastian" userId="222eb8a9-5069-4046-88bd-a10549caffd0" providerId="ADAL" clId="{B4ACD474-49D2-4D84-9005-F7EE5DAE3349}" dt="2024-04-17T08:51:14.285" v="764" actId="14100"/>
          <ac:picMkLst>
            <pc:docMk/>
            <pc:sldMk cId="2790896528" sldId="390"/>
            <ac:picMk id="2" creationId="{E93F2657-96B8-E595-5A71-94A8A9A936F4}"/>
          </ac:picMkLst>
        </pc:picChg>
        <pc:picChg chg="del">
          <ac:chgData name="Schäfermeier, Bastian" userId="222eb8a9-5069-4046-88bd-a10549caffd0" providerId="ADAL" clId="{B4ACD474-49D2-4D84-9005-F7EE5DAE3349}" dt="2024-04-17T08:43:21.846" v="762" actId="478"/>
          <ac:picMkLst>
            <pc:docMk/>
            <pc:sldMk cId="2790896528" sldId="390"/>
            <ac:picMk id="10" creationId="{6DD04377-DAB4-5282-D9CF-150967895FB9}"/>
          </ac:picMkLst>
        </pc:picChg>
      </pc:sldChg>
      <pc:sldChg chg="addSp delSp modSp add mod">
        <pc:chgData name="Schäfermeier, Bastian" userId="222eb8a9-5069-4046-88bd-a10549caffd0" providerId="ADAL" clId="{B4ACD474-49D2-4D84-9005-F7EE5DAE3349}" dt="2024-04-18T08:34:06.062" v="2064" actId="20577"/>
        <pc:sldMkLst>
          <pc:docMk/>
          <pc:sldMk cId="845166466" sldId="391"/>
        </pc:sldMkLst>
        <pc:spChg chg="mod">
          <ac:chgData name="Schäfermeier, Bastian" userId="222eb8a9-5069-4046-88bd-a10549caffd0" providerId="ADAL" clId="{B4ACD474-49D2-4D84-9005-F7EE5DAE3349}" dt="2024-04-18T08:34:06.062" v="2064" actId="20577"/>
          <ac:spMkLst>
            <pc:docMk/>
            <pc:sldMk cId="845166466" sldId="391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4ACD474-49D2-4D84-9005-F7EE5DAE3349}" dt="2024-04-17T08:53:49.169" v="1002" actId="20577"/>
          <ac:spMkLst>
            <pc:docMk/>
            <pc:sldMk cId="845166466" sldId="391"/>
            <ac:spMk id="7" creationId="{22464388-2ECA-4EEA-8E18-9F2C9F7BAE36}"/>
          </ac:spMkLst>
        </pc:spChg>
        <pc:spChg chg="add mod">
          <ac:chgData name="Schäfermeier, Bastian" userId="222eb8a9-5069-4046-88bd-a10549caffd0" providerId="ADAL" clId="{B4ACD474-49D2-4D84-9005-F7EE5DAE3349}" dt="2024-04-18T07:45:21.427" v="1811" actId="13926"/>
          <ac:spMkLst>
            <pc:docMk/>
            <pc:sldMk cId="845166466" sldId="391"/>
            <ac:spMk id="8" creationId="{D9B02415-A200-4BA8-099B-06A9F7C5E100}"/>
          </ac:spMkLst>
        </pc:spChg>
        <pc:picChg chg="del">
          <ac:chgData name="Schäfermeier, Bastian" userId="222eb8a9-5069-4046-88bd-a10549caffd0" providerId="ADAL" clId="{B4ACD474-49D2-4D84-9005-F7EE5DAE3349}" dt="2024-04-17T08:53:19.911" v="939" actId="478"/>
          <ac:picMkLst>
            <pc:docMk/>
            <pc:sldMk cId="845166466" sldId="391"/>
            <ac:picMk id="2" creationId="{E93F2657-96B8-E595-5A71-94A8A9A936F4}"/>
          </ac:picMkLst>
        </pc:picChg>
      </pc:sldChg>
      <pc:sldChg chg="delSp modSp add mod">
        <pc:chgData name="Schäfermeier, Bastian" userId="222eb8a9-5069-4046-88bd-a10549caffd0" providerId="ADAL" clId="{B4ACD474-49D2-4D84-9005-F7EE5DAE3349}" dt="2024-04-18T07:45:35.298" v="1819" actId="20577"/>
        <pc:sldMkLst>
          <pc:docMk/>
          <pc:sldMk cId="3977110310" sldId="392"/>
        </pc:sldMkLst>
        <pc:spChg chg="mod">
          <ac:chgData name="Schäfermeier, Bastian" userId="222eb8a9-5069-4046-88bd-a10549caffd0" providerId="ADAL" clId="{B4ACD474-49D2-4D84-9005-F7EE5DAE3349}" dt="2024-04-18T07:45:35.298" v="1819" actId="20577"/>
          <ac:spMkLst>
            <pc:docMk/>
            <pc:sldMk cId="3977110310" sldId="392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4ACD474-49D2-4D84-9005-F7EE5DAE3349}" dt="2024-04-17T09:08:11.460" v="1540" actId="20577"/>
          <ac:spMkLst>
            <pc:docMk/>
            <pc:sldMk cId="3977110310" sldId="392"/>
            <ac:spMk id="7" creationId="{22464388-2ECA-4EEA-8E18-9F2C9F7BAE36}"/>
          </ac:spMkLst>
        </pc:spChg>
        <pc:spChg chg="del">
          <ac:chgData name="Schäfermeier, Bastian" userId="222eb8a9-5069-4046-88bd-a10549caffd0" providerId="ADAL" clId="{B4ACD474-49D2-4D84-9005-F7EE5DAE3349}" dt="2024-04-17T09:05:47.542" v="1285" actId="478"/>
          <ac:spMkLst>
            <pc:docMk/>
            <pc:sldMk cId="3977110310" sldId="392"/>
            <ac:spMk id="8" creationId="{D9B02415-A200-4BA8-099B-06A9F7C5E100}"/>
          </ac:spMkLst>
        </pc:spChg>
      </pc:sldChg>
      <pc:sldChg chg="add del">
        <pc:chgData name="Schäfermeier, Bastian" userId="222eb8a9-5069-4046-88bd-a10549caffd0" providerId="ADAL" clId="{B4ACD474-49D2-4D84-9005-F7EE5DAE3349}" dt="2024-04-17T09:08:25.802" v="1594" actId="47"/>
        <pc:sldMkLst>
          <pc:docMk/>
          <pc:sldMk cId="1488088715" sldId="393"/>
        </pc:sldMkLst>
      </pc:sldChg>
      <pc:sldChg chg="modSp add mod">
        <pc:chgData name="Schäfermeier, Bastian" userId="222eb8a9-5069-4046-88bd-a10549caffd0" providerId="ADAL" clId="{B4ACD474-49D2-4D84-9005-F7EE5DAE3349}" dt="2024-04-18T08:37:28.222" v="2488" actId="20577"/>
        <pc:sldMkLst>
          <pc:docMk/>
          <pc:sldMk cId="2361218368" sldId="393"/>
        </pc:sldMkLst>
        <pc:spChg chg="mod">
          <ac:chgData name="Schäfermeier, Bastian" userId="222eb8a9-5069-4046-88bd-a10549caffd0" providerId="ADAL" clId="{B4ACD474-49D2-4D84-9005-F7EE5DAE3349}" dt="2024-04-18T08:37:28.222" v="2488" actId="20577"/>
          <ac:spMkLst>
            <pc:docMk/>
            <pc:sldMk cId="2361218368" sldId="393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B4ACD474-49D2-4D84-9005-F7EE5DAE3349}" dt="2024-04-18T08:37:00.165" v="2440" actId="20577"/>
          <ac:spMkLst>
            <pc:docMk/>
            <pc:sldMk cId="2361218368" sldId="393"/>
            <ac:spMk id="7" creationId="{22464388-2ECA-4EEA-8E18-9F2C9F7BAE36}"/>
          </ac:spMkLst>
        </pc:spChg>
      </pc:sldChg>
      <pc:sldChg chg="modSp new mod">
        <pc:chgData name="Schäfermeier, Bastian" userId="222eb8a9-5069-4046-88bd-a10549caffd0" providerId="ADAL" clId="{B4ACD474-49D2-4D84-9005-F7EE5DAE3349}" dt="2024-05-02T08:28:45.047" v="2493"/>
        <pc:sldMkLst>
          <pc:docMk/>
          <pc:sldMk cId="2903972943" sldId="394"/>
        </pc:sldMkLst>
        <pc:spChg chg="mod">
          <ac:chgData name="Schäfermeier, Bastian" userId="222eb8a9-5069-4046-88bd-a10549caffd0" providerId="ADAL" clId="{B4ACD474-49D2-4D84-9005-F7EE5DAE3349}" dt="2024-05-02T08:28:45.047" v="2493"/>
          <ac:spMkLst>
            <pc:docMk/>
            <pc:sldMk cId="2903972943" sldId="394"/>
            <ac:spMk id="4" creationId="{634E7C1E-F311-BE16-F527-6C773AD21C38}"/>
          </ac:spMkLst>
        </pc:spChg>
      </pc:sldChg>
      <pc:sldChg chg="modSp add del mod">
        <pc:chgData name="Schäfermeier, Bastian" userId="222eb8a9-5069-4046-88bd-a10549caffd0" providerId="ADAL" clId="{B4ACD474-49D2-4D84-9005-F7EE5DAE3349}" dt="2024-05-02T08:35:03.186" v="2595" actId="2696"/>
        <pc:sldMkLst>
          <pc:docMk/>
          <pc:sldMk cId="2426122368" sldId="395"/>
        </pc:sldMkLst>
        <pc:spChg chg="mod">
          <ac:chgData name="Schäfermeier, Bastian" userId="222eb8a9-5069-4046-88bd-a10549caffd0" providerId="ADAL" clId="{B4ACD474-49D2-4D84-9005-F7EE5DAE3349}" dt="2024-05-02T08:34:38.021" v="2594" actId="1076"/>
          <ac:spMkLst>
            <pc:docMk/>
            <pc:sldMk cId="2426122368" sldId="395"/>
            <ac:spMk id="5" creationId="{DBCE971E-BC53-5208-D0B0-346B7A5D6E36}"/>
          </ac:spMkLst>
        </pc:spChg>
      </pc:sldChg>
      <pc:sldChg chg="addSp modSp add del mod">
        <pc:chgData name="Schäfermeier, Bastian" userId="222eb8a9-5069-4046-88bd-a10549caffd0" providerId="ADAL" clId="{B4ACD474-49D2-4D84-9005-F7EE5DAE3349}" dt="2024-05-02T08:35:03.186" v="2595" actId="2696"/>
        <pc:sldMkLst>
          <pc:docMk/>
          <pc:sldMk cId="2469276117" sldId="396"/>
        </pc:sldMkLst>
        <pc:spChg chg="mod">
          <ac:chgData name="Schäfermeier, Bastian" userId="222eb8a9-5069-4046-88bd-a10549caffd0" providerId="ADAL" clId="{B4ACD474-49D2-4D84-9005-F7EE5DAE3349}" dt="2024-05-02T08:34:27.491" v="2593" actId="255"/>
          <ac:spMkLst>
            <pc:docMk/>
            <pc:sldMk cId="2469276117" sldId="396"/>
            <ac:spMk id="5" creationId="{DBCE971E-BC53-5208-D0B0-346B7A5D6E36}"/>
          </ac:spMkLst>
        </pc:spChg>
        <pc:spChg chg="add mod">
          <ac:chgData name="Schäfermeier, Bastian" userId="222eb8a9-5069-4046-88bd-a10549caffd0" providerId="ADAL" clId="{B4ACD474-49D2-4D84-9005-F7EE5DAE3349}" dt="2024-05-02T08:32:58.497" v="2571" actId="1076"/>
          <ac:spMkLst>
            <pc:docMk/>
            <pc:sldMk cId="2469276117" sldId="396"/>
            <ac:spMk id="10" creationId="{085F236D-3961-5D14-ECA5-91D77DBE1A87}"/>
          </ac:spMkLst>
        </pc:spChg>
        <pc:spChg chg="add mod">
          <ac:chgData name="Schäfermeier, Bastian" userId="222eb8a9-5069-4046-88bd-a10549caffd0" providerId="ADAL" clId="{B4ACD474-49D2-4D84-9005-F7EE5DAE3349}" dt="2024-05-02T08:33:45.626" v="2583" actId="1076"/>
          <ac:spMkLst>
            <pc:docMk/>
            <pc:sldMk cId="2469276117" sldId="396"/>
            <ac:spMk id="11" creationId="{AF37F7E2-7025-1ABD-5435-2CEB235C8DE9}"/>
          </ac:spMkLst>
        </pc:spChg>
        <pc:picChg chg="add mod">
          <ac:chgData name="Schäfermeier, Bastian" userId="222eb8a9-5069-4046-88bd-a10549caffd0" providerId="ADAL" clId="{B4ACD474-49D2-4D84-9005-F7EE5DAE3349}" dt="2024-05-02T08:32:58.497" v="2571" actId="1076"/>
          <ac:picMkLst>
            <pc:docMk/>
            <pc:sldMk cId="2469276117" sldId="396"/>
            <ac:picMk id="8" creationId="{A339EFCD-8C43-D297-A00D-75E31CDC2BFE}"/>
          </ac:picMkLst>
        </pc:picChg>
      </pc:sldChg>
    </pc:docChg>
  </pc:docChgLst>
  <pc:docChgLst>
    <pc:chgData name="Schäfermeier, Bastian" userId="222eb8a9-5069-4046-88bd-a10549caffd0" providerId="ADAL" clId="{A23CF501-99CC-48D5-B6C8-5BA1409F4265}"/>
    <pc:docChg chg="undo custSel addSld delSld modSld modSection">
      <pc:chgData name="Schäfermeier, Bastian" userId="222eb8a9-5069-4046-88bd-a10549caffd0" providerId="ADAL" clId="{A23CF501-99CC-48D5-B6C8-5BA1409F4265}" dt="2023-08-25T15:06:13.526" v="4941" actId="14100"/>
      <pc:docMkLst>
        <pc:docMk/>
      </pc:docMkLst>
      <pc:sldChg chg="del">
        <pc:chgData name="Schäfermeier, Bastian" userId="222eb8a9-5069-4046-88bd-a10549caffd0" providerId="ADAL" clId="{A23CF501-99CC-48D5-B6C8-5BA1409F4265}" dt="2023-08-25T13:09:02.706" v="1121" actId="47"/>
        <pc:sldMkLst>
          <pc:docMk/>
          <pc:sldMk cId="1376898283" sldId="317"/>
        </pc:sldMkLst>
      </pc:sldChg>
      <pc:sldChg chg="modSp mod">
        <pc:chgData name="Schäfermeier, Bastian" userId="222eb8a9-5069-4046-88bd-a10549caffd0" providerId="ADAL" clId="{A23CF501-99CC-48D5-B6C8-5BA1409F4265}" dt="2023-08-25T13:25:22.803" v="2790" actId="20577"/>
        <pc:sldMkLst>
          <pc:docMk/>
          <pc:sldMk cId="3162220561" sldId="355"/>
        </pc:sldMkLst>
        <pc:spChg chg="mod">
          <ac:chgData name="Schäfermeier, Bastian" userId="222eb8a9-5069-4046-88bd-a10549caffd0" providerId="ADAL" clId="{A23CF501-99CC-48D5-B6C8-5BA1409F4265}" dt="2023-08-25T13:25:22.803" v="2790" actId="20577"/>
          <ac:spMkLst>
            <pc:docMk/>
            <pc:sldMk cId="3162220561" sldId="355"/>
            <ac:spMk id="5" creationId="{74E97DF8-C1D4-4738-8989-E78F9E0E9897}"/>
          </ac:spMkLst>
        </pc:spChg>
      </pc:sldChg>
      <pc:sldChg chg="del">
        <pc:chgData name="Schäfermeier, Bastian" userId="222eb8a9-5069-4046-88bd-a10549caffd0" providerId="ADAL" clId="{A23CF501-99CC-48D5-B6C8-5BA1409F4265}" dt="2023-08-25T13:09:02.706" v="1121" actId="47"/>
        <pc:sldMkLst>
          <pc:docMk/>
          <pc:sldMk cId="2617137735" sldId="363"/>
        </pc:sldMkLst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447657309" sldId="379"/>
        </pc:sldMkLst>
      </pc:sldChg>
      <pc:sldChg chg="addSp modSp mod">
        <pc:chgData name="Schäfermeier, Bastian" userId="222eb8a9-5069-4046-88bd-a10549caffd0" providerId="ADAL" clId="{A23CF501-99CC-48D5-B6C8-5BA1409F4265}" dt="2023-08-25T14:25:03.258" v="3766" actId="207"/>
        <pc:sldMkLst>
          <pc:docMk/>
          <pc:sldMk cId="1407938641" sldId="382"/>
        </pc:sldMkLst>
        <pc:spChg chg="mod">
          <ac:chgData name="Schäfermeier, Bastian" userId="222eb8a9-5069-4046-88bd-a10549caffd0" providerId="ADAL" clId="{A23CF501-99CC-48D5-B6C8-5BA1409F4265}" dt="2023-08-25T13:26:38.965" v="2927" actId="20577"/>
          <ac:spMkLst>
            <pc:docMk/>
            <pc:sldMk cId="1407938641" sldId="382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A23CF501-99CC-48D5-B6C8-5BA1409F4265}" dt="2023-08-25T12:54:27.096" v="92" actId="20577"/>
          <ac:spMkLst>
            <pc:docMk/>
            <pc:sldMk cId="1407938641" sldId="382"/>
            <ac:spMk id="7" creationId="{22464388-2ECA-4EEA-8E18-9F2C9F7BAE36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2" creationId="{D58F67CA-503B-D6AB-708A-F001C7BA17E9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3" creationId="{EC1E067F-D00F-AE2D-D54C-F5B18E112E86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4" creationId="{93F71BD5-26F0-5B07-75B8-D1347DF324E6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5" creationId="{2EE76227-2FDF-A5D9-7E7E-6E70916CB54B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6" creationId="{E2C7CFB8-1168-E583-A9EE-972A9332BAD1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7" creationId="{334F99DE-462C-67AB-9FF6-8ABBBDE677C3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8" creationId="{5428B2A5-F6C1-3A34-E70B-A731DE38E726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19" creationId="{FF3E5677-ADAC-7CAA-769B-AFCE51F2E820}"/>
          </ac:spMkLst>
        </pc:spChg>
        <pc:spChg chg="mod">
          <ac:chgData name="Schäfermeier, Bastian" userId="222eb8a9-5069-4046-88bd-a10549caffd0" providerId="ADAL" clId="{A23CF501-99CC-48D5-B6C8-5BA1409F4265}" dt="2023-08-25T14:25:03.258" v="3766" actId="207"/>
          <ac:spMkLst>
            <pc:docMk/>
            <pc:sldMk cId="1407938641" sldId="382"/>
            <ac:spMk id="20" creationId="{E187D227-E62B-9C4B-1222-8D04AB6BB411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2" creationId="{A93EF00C-A185-E579-4C7A-C81946DE447D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3" creationId="{1F3B0E54-89FA-AAD6-21F6-C00C9DC65826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4" creationId="{4E4DED59-5C86-7080-D149-B47A02F0CB3A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5" creationId="{AF3B2C56-3BE7-9B68-1A37-4CC56C5BB7ED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6" creationId="{6DAEC742-E9C3-94CC-5D95-BB50B41E9D99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7" creationId="{56118475-8938-8039-5065-DA064EB62B6F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8" creationId="{FF92580B-5E7E-F3CA-2848-51623C2FC52E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29" creationId="{B14F7290-18C1-31A4-7185-92733935C69B}"/>
          </ac:spMkLst>
        </pc:spChg>
        <pc:spChg chg="mod">
          <ac:chgData name="Schäfermeier, Bastian" userId="222eb8a9-5069-4046-88bd-a10549caffd0" providerId="ADAL" clId="{A23CF501-99CC-48D5-B6C8-5BA1409F4265}" dt="2023-08-25T14:24:52.047" v="3765" actId="207"/>
          <ac:spMkLst>
            <pc:docMk/>
            <pc:sldMk cId="1407938641" sldId="382"/>
            <ac:spMk id="30" creationId="{D22040C9-00F9-47A1-3252-A86BBA12F3EC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2" creationId="{AF037D64-7629-F9BE-41DE-A1416FB831AB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3" creationId="{FD6B387C-2FF9-E3A5-7AEA-C452D992058D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4" creationId="{AEB94E62-57B6-0790-BB08-423255A48FCA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5" creationId="{C2EB74A6-892C-C804-5418-817B3A854824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6" creationId="{F2C55C12-F510-D394-F448-E74CCE6409A0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7" creationId="{30970948-7DB2-8470-6C85-0B203544CCF7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8" creationId="{79271DA6-101D-D40B-16A9-305DA8A128D3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39" creationId="{C10E7FBC-2CC5-0225-5895-85150CADDB01}"/>
          </ac:spMkLst>
        </pc:spChg>
        <pc:spChg chg="mod">
          <ac:chgData name="Schäfermeier, Bastian" userId="222eb8a9-5069-4046-88bd-a10549caffd0" providerId="ADAL" clId="{A23CF501-99CC-48D5-B6C8-5BA1409F4265}" dt="2023-08-25T14:22:04.104" v="3673"/>
          <ac:spMkLst>
            <pc:docMk/>
            <pc:sldMk cId="1407938641" sldId="382"/>
            <ac:spMk id="40" creationId="{78D3E41E-09D4-E012-79D7-1D628558DED7}"/>
          </ac:spMkLst>
        </pc:spChg>
        <pc:grpChg chg="add mod">
          <ac:chgData name="Schäfermeier, Bastian" userId="222eb8a9-5069-4046-88bd-a10549caffd0" providerId="ADAL" clId="{A23CF501-99CC-48D5-B6C8-5BA1409F4265}" dt="2023-08-25T14:25:03.258" v="3766" actId="207"/>
          <ac:grpSpMkLst>
            <pc:docMk/>
            <pc:sldMk cId="1407938641" sldId="382"/>
            <ac:grpSpMk id="11" creationId="{370CD625-33D1-54EC-02F8-5F9353390F04}"/>
          </ac:grpSpMkLst>
        </pc:grpChg>
        <pc:grpChg chg="add mod">
          <ac:chgData name="Schäfermeier, Bastian" userId="222eb8a9-5069-4046-88bd-a10549caffd0" providerId="ADAL" clId="{A23CF501-99CC-48D5-B6C8-5BA1409F4265}" dt="2023-08-25T14:24:52.047" v="3765" actId="207"/>
          <ac:grpSpMkLst>
            <pc:docMk/>
            <pc:sldMk cId="1407938641" sldId="382"/>
            <ac:grpSpMk id="21" creationId="{D3900BC0-BDB4-E1E2-E7FA-99AC1D435490}"/>
          </ac:grpSpMkLst>
        </pc:grpChg>
        <pc:grpChg chg="add mod">
          <ac:chgData name="Schäfermeier, Bastian" userId="222eb8a9-5069-4046-88bd-a10549caffd0" providerId="ADAL" clId="{A23CF501-99CC-48D5-B6C8-5BA1409F4265}" dt="2023-08-25T14:22:04.104" v="3673"/>
          <ac:grpSpMkLst>
            <pc:docMk/>
            <pc:sldMk cId="1407938641" sldId="382"/>
            <ac:grpSpMk id="31" creationId="{CE4C8026-4EA5-ABE6-80DE-91C67188239A}"/>
          </ac:grpSpMkLst>
        </pc:grpChg>
        <pc:picChg chg="add mod">
          <ac:chgData name="Schäfermeier, Bastian" userId="222eb8a9-5069-4046-88bd-a10549caffd0" providerId="ADAL" clId="{A23CF501-99CC-48D5-B6C8-5BA1409F4265}" dt="2023-08-25T14:21:38.328" v="3664" actId="1076"/>
          <ac:picMkLst>
            <pc:docMk/>
            <pc:sldMk cId="1407938641" sldId="382"/>
            <ac:picMk id="2" creationId="{6D4BD944-4AC2-0163-0402-F565113FDCCB}"/>
          </ac:picMkLst>
        </pc:picChg>
        <pc:picChg chg="add mod">
          <ac:chgData name="Schäfermeier, Bastian" userId="222eb8a9-5069-4046-88bd-a10549caffd0" providerId="ADAL" clId="{A23CF501-99CC-48D5-B6C8-5BA1409F4265}" dt="2023-08-25T14:21:48.352" v="3669" actId="1076"/>
          <ac:picMkLst>
            <pc:docMk/>
            <pc:sldMk cId="1407938641" sldId="382"/>
            <ac:picMk id="8" creationId="{DBD87588-ADE9-B491-5E46-320D8B3E258A}"/>
          </ac:picMkLst>
        </pc:picChg>
        <pc:picChg chg="add mod">
          <ac:chgData name="Schäfermeier, Bastian" userId="222eb8a9-5069-4046-88bd-a10549caffd0" providerId="ADAL" clId="{A23CF501-99CC-48D5-B6C8-5BA1409F4265}" dt="2023-08-25T14:21:46.498" v="3668" actId="1076"/>
          <ac:picMkLst>
            <pc:docMk/>
            <pc:sldMk cId="1407938641" sldId="382"/>
            <ac:picMk id="10" creationId="{94D44779-FF4A-DA4B-9C14-9888D4947AE0}"/>
          </ac:picMkLst>
        </pc:picChg>
      </pc:sldChg>
      <pc:sldChg chg="addSp delSp modSp add mod">
        <pc:chgData name="Schäfermeier, Bastian" userId="222eb8a9-5069-4046-88bd-a10549caffd0" providerId="ADAL" clId="{A23CF501-99CC-48D5-B6C8-5BA1409F4265}" dt="2023-08-25T14:51:01.633" v="4273" actId="20577"/>
        <pc:sldMkLst>
          <pc:docMk/>
          <pc:sldMk cId="3907646048" sldId="383"/>
        </pc:sldMkLst>
        <pc:spChg chg="add del">
          <ac:chgData name="Schäfermeier, Bastian" userId="222eb8a9-5069-4046-88bd-a10549caffd0" providerId="ADAL" clId="{A23CF501-99CC-48D5-B6C8-5BA1409F4265}" dt="2023-08-25T13:09:25.688" v="1125" actId="11529"/>
          <ac:spMkLst>
            <pc:docMk/>
            <pc:sldMk cId="3907646048" sldId="383"/>
            <ac:spMk id="2" creationId="{353B2E6F-DB83-589F-580C-2C07E10F79CB}"/>
          </ac:spMkLst>
        </pc:spChg>
        <pc:spChg chg="del">
          <ac:chgData name="Schäfermeier, Bastian" userId="222eb8a9-5069-4046-88bd-a10549caffd0" providerId="ADAL" clId="{A23CF501-99CC-48D5-B6C8-5BA1409F4265}" dt="2023-08-25T13:09:14.116" v="1123" actId="478"/>
          <ac:spMkLst>
            <pc:docMk/>
            <pc:sldMk cId="3907646048" sldId="383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A23CF501-99CC-48D5-B6C8-5BA1409F4265}" dt="2023-08-25T14:27:39.036" v="3795" actId="20577"/>
          <ac:spMkLst>
            <pc:docMk/>
            <pc:sldMk cId="3907646048" sldId="383"/>
            <ac:spMk id="7" creationId="{22464388-2ECA-4EEA-8E18-9F2C9F7BAE36}"/>
          </ac:spMkLst>
        </pc:spChg>
        <pc:spChg chg="add mod">
          <ac:chgData name="Schäfermeier, Bastian" userId="222eb8a9-5069-4046-88bd-a10549caffd0" providerId="ADAL" clId="{A23CF501-99CC-48D5-B6C8-5BA1409F4265}" dt="2023-08-25T14:47:26.487" v="4184" actId="1076"/>
          <ac:spMkLst>
            <pc:docMk/>
            <pc:sldMk cId="3907646048" sldId="383"/>
            <ac:spMk id="8" creationId="{FFADC000-988C-B011-8551-29C2D83CCA7D}"/>
          </ac:spMkLst>
        </pc:spChg>
        <pc:spChg chg="add mod">
          <ac:chgData name="Schäfermeier, Bastian" userId="222eb8a9-5069-4046-88bd-a10549caffd0" providerId="ADAL" clId="{A23CF501-99CC-48D5-B6C8-5BA1409F4265}" dt="2023-08-25T14:38:27.747" v="3880" actId="14100"/>
          <ac:spMkLst>
            <pc:docMk/>
            <pc:sldMk cId="3907646048" sldId="383"/>
            <ac:spMk id="13" creationId="{B9056A80-85C6-51DB-DE7F-C841EEFF1F9F}"/>
          </ac:spMkLst>
        </pc:spChg>
        <pc:spChg chg="add mod">
          <ac:chgData name="Schäfermeier, Bastian" userId="222eb8a9-5069-4046-88bd-a10549caffd0" providerId="ADAL" clId="{A23CF501-99CC-48D5-B6C8-5BA1409F4265}" dt="2023-08-25T14:38:09.127" v="3872" actId="20577"/>
          <ac:spMkLst>
            <pc:docMk/>
            <pc:sldMk cId="3907646048" sldId="383"/>
            <ac:spMk id="15" creationId="{1B9DFE26-80EE-1AD6-DFF0-71ABAD1698C0}"/>
          </ac:spMkLst>
        </pc:spChg>
        <pc:spChg chg="add mod">
          <ac:chgData name="Schäfermeier, Bastian" userId="222eb8a9-5069-4046-88bd-a10549caffd0" providerId="ADAL" clId="{A23CF501-99CC-48D5-B6C8-5BA1409F4265}" dt="2023-08-25T14:39:21.584" v="3899" actId="1076"/>
          <ac:spMkLst>
            <pc:docMk/>
            <pc:sldMk cId="3907646048" sldId="383"/>
            <ac:spMk id="16" creationId="{05ADCF8B-DB53-0FF6-D5C6-DB8CD65BDCB0}"/>
          </ac:spMkLst>
        </pc:spChg>
        <pc:spChg chg="add mod">
          <ac:chgData name="Schäfermeier, Bastian" userId="222eb8a9-5069-4046-88bd-a10549caffd0" providerId="ADAL" clId="{A23CF501-99CC-48D5-B6C8-5BA1409F4265}" dt="2023-08-25T14:39:21.584" v="3899" actId="1076"/>
          <ac:spMkLst>
            <pc:docMk/>
            <pc:sldMk cId="3907646048" sldId="383"/>
            <ac:spMk id="17" creationId="{2E8B9CA5-35B4-225F-A70B-DB48FED84A24}"/>
          </ac:spMkLst>
        </pc:spChg>
        <pc:spChg chg="add mod">
          <ac:chgData name="Schäfermeier, Bastian" userId="222eb8a9-5069-4046-88bd-a10549caffd0" providerId="ADAL" clId="{A23CF501-99CC-48D5-B6C8-5BA1409F4265}" dt="2023-08-25T14:39:35.488" v="3904" actId="113"/>
          <ac:spMkLst>
            <pc:docMk/>
            <pc:sldMk cId="3907646048" sldId="383"/>
            <ac:spMk id="18" creationId="{E11B69BF-3B28-3229-BB62-3D78C05890C2}"/>
          </ac:spMkLst>
        </pc:spChg>
        <pc:spChg chg="add del mod">
          <ac:chgData name="Schäfermeier, Bastian" userId="222eb8a9-5069-4046-88bd-a10549caffd0" providerId="ADAL" clId="{A23CF501-99CC-48D5-B6C8-5BA1409F4265}" dt="2023-08-25T14:42:22.824" v="3994" actId="478"/>
          <ac:spMkLst>
            <pc:docMk/>
            <pc:sldMk cId="3907646048" sldId="383"/>
            <ac:spMk id="19" creationId="{24C1D95C-9286-A238-9DB4-786AB04347A0}"/>
          </ac:spMkLst>
        </pc:spChg>
        <pc:spChg chg="add del mod">
          <ac:chgData name="Schäfermeier, Bastian" userId="222eb8a9-5069-4046-88bd-a10549caffd0" providerId="ADAL" clId="{A23CF501-99CC-48D5-B6C8-5BA1409F4265}" dt="2023-08-25T14:42:24.504" v="3995" actId="478"/>
          <ac:spMkLst>
            <pc:docMk/>
            <pc:sldMk cId="3907646048" sldId="383"/>
            <ac:spMk id="20" creationId="{26D69F38-FFC3-109E-EC5E-40A018371802}"/>
          </ac:spMkLst>
        </pc:spChg>
        <pc:spChg chg="add mod">
          <ac:chgData name="Schäfermeier, Bastian" userId="222eb8a9-5069-4046-88bd-a10549caffd0" providerId="ADAL" clId="{A23CF501-99CC-48D5-B6C8-5BA1409F4265}" dt="2023-08-25T14:50:31.341" v="4256" actId="1076"/>
          <ac:spMkLst>
            <pc:docMk/>
            <pc:sldMk cId="3907646048" sldId="383"/>
            <ac:spMk id="21" creationId="{69EDD435-4826-E76C-4727-CB83A71E99C4}"/>
          </ac:spMkLst>
        </pc:spChg>
        <pc:spChg chg="add mod">
          <ac:chgData name="Schäfermeier, Bastian" userId="222eb8a9-5069-4046-88bd-a10549caffd0" providerId="ADAL" clId="{A23CF501-99CC-48D5-B6C8-5BA1409F4265}" dt="2023-08-25T14:40:03.930" v="3913" actId="20577"/>
          <ac:spMkLst>
            <pc:docMk/>
            <pc:sldMk cId="3907646048" sldId="383"/>
            <ac:spMk id="22" creationId="{D537A93D-54D1-6306-EBD6-9C8CB90A2BFE}"/>
          </ac:spMkLst>
        </pc:spChg>
        <pc:spChg chg="add mod">
          <ac:chgData name="Schäfermeier, Bastian" userId="222eb8a9-5069-4046-88bd-a10549caffd0" providerId="ADAL" clId="{A23CF501-99CC-48D5-B6C8-5BA1409F4265}" dt="2023-08-25T14:40:26.182" v="3917" actId="20577"/>
          <ac:spMkLst>
            <pc:docMk/>
            <pc:sldMk cId="3907646048" sldId="383"/>
            <ac:spMk id="23" creationId="{CB67D512-E589-F8E2-E57B-5084BE3F77A2}"/>
          </ac:spMkLst>
        </pc:spChg>
        <pc:spChg chg="add mod">
          <ac:chgData name="Schäfermeier, Bastian" userId="222eb8a9-5069-4046-88bd-a10549caffd0" providerId="ADAL" clId="{A23CF501-99CC-48D5-B6C8-5BA1409F4265}" dt="2023-08-25T14:40:43.101" v="3925" actId="20577"/>
          <ac:spMkLst>
            <pc:docMk/>
            <pc:sldMk cId="3907646048" sldId="383"/>
            <ac:spMk id="24" creationId="{CE6C69B7-8AD2-B085-B7ED-C5248ACEABDE}"/>
          </ac:spMkLst>
        </pc:spChg>
        <pc:spChg chg="add mod">
          <ac:chgData name="Schäfermeier, Bastian" userId="222eb8a9-5069-4046-88bd-a10549caffd0" providerId="ADAL" clId="{A23CF501-99CC-48D5-B6C8-5BA1409F4265}" dt="2023-08-25T14:40:56.311" v="3947" actId="1037"/>
          <ac:spMkLst>
            <pc:docMk/>
            <pc:sldMk cId="3907646048" sldId="383"/>
            <ac:spMk id="25" creationId="{797AEB39-1029-DC0A-A3E5-2889F1198241}"/>
          </ac:spMkLst>
        </pc:spChg>
        <pc:spChg chg="add mod">
          <ac:chgData name="Schäfermeier, Bastian" userId="222eb8a9-5069-4046-88bd-a10549caffd0" providerId="ADAL" clId="{A23CF501-99CC-48D5-B6C8-5BA1409F4265}" dt="2023-08-25T14:41:33.074" v="3964" actId="20577"/>
          <ac:spMkLst>
            <pc:docMk/>
            <pc:sldMk cId="3907646048" sldId="383"/>
            <ac:spMk id="26" creationId="{3F6F837C-CB77-4695-858D-64EF77A30F72}"/>
          </ac:spMkLst>
        </pc:spChg>
        <pc:spChg chg="add mod">
          <ac:chgData name="Schäfermeier, Bastian" userId="222eb8a9-5069-4046-88bd-a10549caffd0" providerId="ADAL" clId="{A23CF501-99CC-48D5-B6C8-5BA1409F4265}" dt="2023-08-25T14:41:37.774" v="3969" actId="20577"/>
          <ac:spMkLst>
            <pc:docMk/>
            <pc:sldMk cId="3907646048" sldId="383"/>
            <ac:spMk id="27" creationId="{6DDC3689-2182-0282-ACC1-0FC29DB19A68}"/>
          </ac:spMkLst>
        </pc:spChg>
        <pc:spChg chg="add mod">
          <ac:chgData name="Schäfermeier, Bastian" userId="222eb8a9-5069-4046-88bd-a10549caffd0" providerId="ADAL" clId="{A23CF501-99CC-48D5-B6C8-5BA1409F4265}" dt="2023-08-25T14:51:01.633" v="4273" actId="20577"/>
          <ac:spMkLst>
            <pc:docMk/>
            <pc:sldMk cId="3907646048" sldId="383"/>
            <ac:spMk id="28" creationId="{79BD46DF-103D-7CA3-4241-9C92DD359C4D}"/>
          </ac:spMkLst>
        </pc:spChg>
        <pc:spChg chg="add mod">
          <ac:chgData name="Schäfermeier, Bastian" userId="222eb8a9-5069-4046-88bd-a10549caffd0" providerId="ADAL" clId="{A23CF501-99CC-48D5-B6C8-5BA1409F4265}" dt="2023-08-25T14:41:20.903" v="3953" actId="1036"/>
          <ac:spMkLst>
            <pc:docMk/>
            <pc:sldMk cId="3907646048" sldId="383"/>
            <ac:spMk id="29" creationId="{2943868A-5897-19FC-91C9-9EA1242C44AE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1" creationId="{8D72DEE9-6447-C13A-5857-A6166399A9BE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2" creationId="{5B6EE4B0-44ED-D5F7-A7C9-BE4E59082808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3" creationId="{E1049082-8D7F-4DD3-48E5-A98BDD380E1F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4" creationId="{633F28C9-24B2-267C-A92C-33054288938D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5" creationId="{230A9F6B-DB36-4E3D-6AE0-9982588F92EE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6" creationId="{D51D22C9-8E8C-3431-014F-235720A7E7C9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7" creationId="{220E2718-5B4E-722D-DD23-DB54CF3900DF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8" creationId="{E302DA2D-86F8-646C-A914-60BCF3E5CB14}"/>
          </ac:spMkLst>
        </pc:spChg>
        <pc:spChg chg="mod">
          <ac:chgData name="Schäfermeier, Bastian" userId="222eb8a9-5069-4046-88bd-a10549caffd0" providerId="ADAL" clId="{A23CF501-99CC-48D5-B6C8-5BA1409F4265}" dt="2023-08-25T14:41:50.723" v="3981"/>
          <ac:spMkLst>
            <pc:docMk/>
            <pc:sldMk cId="3907646048" sldId="383"/>
            <ac:spMk id="39" creationId="{BDD1B164-9CDF-4E8D-1CAD-67D5DB506E3A}"/>
          </ac:spMkLst>
        </pc:spChg>
        <pc:spChg chg="add del mod">
          <ac:chgData name="Schäfermeier, Bastian" userId="222eb8a9-5069-4046-88bd-a10549caffd0" providerId="ADAL" clId="{A23CF501-99CC-48D5-B6C8-5BA1409F4265}" dt="2023-08-25T14:42:57.406" v="4010" actId="478"/>
          <ac:spMkLst>
            <pc:docMk/>
            <pc:sldMk cId="3907646048" sldId="383"/>
            <ac:spMk id="40" creationId="{AA1A948B-2F30-0B14-904D-1F66DF33D413}"/>
          </ac:spMkLst>
        </pc:spChg>
        <pc:spChg chg="add del mod">
          <ac:chgData name="Schäfermeier, Bastian" userId="222eb8a9-5069-4046-88bd-a10549caffd0" providerId="ADAL" clId="{A23CF501-99CC-48D5-B6C8-5BA1409F4265}" dt="2023-08-25T14:42:53.487" v="4008" actId="478"/>
          <ac:spMkLst>
            <pc:docMk/>
            <pc:sldMk cId="3907646048" sldId="383"/>
            <ac:spMk id="41" creationId="{88722BF4-3665-4467-DDB7-4F92B6B0B4A3}"/>
          </ac:spMkLst>
        </pc:spChg>
        <pc:spChg chg="add del mod">
          <ac:chgData name="Schäfermeier, Bastian" userId="222eb8a9-5069-4046-88bd-a10549caffd0" providerId="ADAL" clId="{A23CF501-99CC-48D5-B6C8-5BA1409F4265}" dt="2023-08-25T14:42:56.327" v="4009" actId="478"/>
          <ac:spMkLst>
            <pc:docMk/>
            <pc:sldMk cId="3907646048" sldId="383"/>
            <ac:spMk id="42" creationId="{DFB32659-E1BB-D1F7-83D5-5B0EC02919D9}"/>
          </ac:spMkLst>
        </pc:spChg>
        <pc:spChg chg="add del mod">
          <ac:chgData name="Schäfermeier, Bastian" userId="222eb8a9-5069-4046-88bd-a10549caffd0" providerId="ADAL" clId="{A23CF501-99CC-48D5-B6C8-5BA1409F4265}" dt="2023-08-25T14:42:57.925" v="4011" actId="478"/>
          <ac:spMkLst>
            <pc:docMk/>
            <pc:sldMk cId="3907646048" sldId="383"/>
            <ac:spMk id="43" creationId="{AFA58C26-9B88-D696-7237-E355F76896C6}"/>
          </ac:spMkLst>
        </pc:spChg>
        <pc:spChg chg="add mod">
          <ac:chgData name="Schäfermeier, Bastian" userId="222eb8a9-5069-4046-88bd-a10549caffd0" providerId="ADAL" clId="{A23CF501-99CC-48D5-B6C8-5BA1409F4265}" dt="2023-08-25T14:43:26.543" v="4014" actId="1076"/>
          <ac:spMkLst>
            <pc:docMk/>
            <pc:sldMk cId="3907646048" sldId="383"/>
            <ac:spMk id="44" creationId="{D27030E6-98DC-8239-AD26-94A59B7F3FC1}"/>
          </ac:spMkLst>
        </pc:spChg>
        <pc:spChg chg="add mod">
          <ac:chgData name="Schäfermeier, Bastian" userId="222eb8a9-5069-4046-88bd-a10549caffd0" providerId="ADAL" clId="{A23CF501-99CC-48D5-B6C8-5BA1409F4265}" dt="2023-08-25T14:44:34.669" v="4038" actId="20577"/>
          <ac:spMkLst>
            <pc:docMk/>
            <pc:sldMk cId="3907646048" sldId="383"/>
            <ac:spMk id="45" creationId="{4BA297C8-3C8A-78A9-D6E1-64E25E295765}"/>
          </ac:spMkLst>
        </pc:spChg>
        <pc:spChg chg="add mod">
          <ac:chgData name="Schäfermeier, Bastian" userId="222eb8a9-5069-4046-88bd-a10549caffd0" providerId="ADAL" clId="{A23CF501-99CC-48D5-B6C8-5BA1409F4265}" dt="2023-08-25T14:44:37.580" v="4039" actId="20577"/>
          <ac:spMkLst>
            <pc:docMk/>
            <pc:sldMk cId="3907646048" sldId="383"/>
            <ac:spMk id="46" creationId="{76D0F1AB-2E14-381E-08DE-BFC851A32E56}"/>
          </ac:spMkLst>
        </pc:spChg>
        <pc:spChg chg="add del mod">
          <ac:chgData name="Schäfermeier, Bastian" userId="222eb8a9-5069-4046-88bd-a10549caffd0" providerId="ADAL" clId="{A23CF501-99CC-48D5-B6C8-5BA1409F4265}" dt="2023-08-25T14:43:59.418" v="4034" actId="478"/>
          <ac:spMkLst>
            <pc:docMk/>
            <pc:sldMk cId="3907646048" sldId="383"/>
            <ac:spMk id="47" creationId="{B3E935F6-88AC-CB2F-5DD8-64E329640757}"/>
          </ac:spMkLst>
        </pc:spChg>
        <pc:spChg chg="add mod">
          <ac:chgData name="Schäfermeier, Bastian" userId="222eb8a9-5069-4046-88bd-a10549caffd0" providerId="ADAL" clId="{A23CF501-99CC-48D5-B6C8-5BA1409F4265}" dt="2023-08-25T14:47:05.085" v="4167" actId="20577"/>
          <ac:spMkLst>
            <pc:docMk/>
            <pc:sldMk cId="3907646048" sldId="383"/>
            <ac:spMk id="48" creationId="{F55EF675-1D4C-A4E0-C72F-856B3B0E54A8}"/>
          </ac:spMkLst>
        </pc:spChg>
        <pc:spChg chg="add del mod">
          <ac:chgData name="Schäfermeier, Bastian" userId="222eb8a9-5069-4046-88bd-a10549caffd0" providerId="ADAL" clId="{A23CF501-99CC-48D5-B6C8-5BA1409F4265}" dt="2023-08-25T14:46:33.144" v="4150" actId="478"/>
          <ac:spMkLst>
            <pc:docMk/>
            <pc:sldMk cId="3907646048" sldId="383"/>
            <ac:spMk id="49" creationId="{FF2070EF-8F8E-3BA9-3E75-F5E49218AD48}"/>
          </ac:spMkLst>
        </pc:spChg>
        <pc:spChg chg="add del mod">
          <ac:chgData name="Schäfermeier, Bastian" userId="222eb8a9-5069-4046-88bd-a10549caffd0" providerId="ADAL" clId="{A23CF501-99CC-48D5-B6C8-5BA1409F4265}" dt="2023-08-25T14:47:23.644" v="4182" actId="478"/>
          <ac:spMkLst>
            <pc:docMk/>
            <pc:sldMk cId="3907646048" sldId="383"/>
            <ac:spMk id="50" creationId="{4AD630C6-848D-4C9B-E333-AD7504BA8861}"/>
          </ac:spMkLst>
        </pc:spChg>
        <pc:spChg chg="add del mod">
          <ac:chgData name="Schäfermeier, Bastian" userId="222eb8a9-5069-4046-88bd-a10549caffd0" providerId="ADAL" clId="{A23CF501-99CC-48D5-B6C8-5BA1409F4265}" dt="2023-08-25T14:47:23.644" v="4182" actId="478"/>
          <ac:spMkLst>
            <pc:docMk/>
            <pc:sldMk cId="3907646048" sldId="383"/>
            <ac:spMk id="51" creationId="{834C86C4-8199-F9B6-2B7B-39BAD23D9EA3}"/>
          </ac:spMkLst>
        </pc:spChg>
        <pc:spChg chg="add del mod">
          <ac:chgData name="Schäfermeier, Bastian" userId="222eb8a9-5069-4046-88bd-a10549caffd0" providerId="ADAL" clId="{A23CF501-99CC-48D5-B6C8-5BA1409F4265}" dt="2023-08-25T14:46:33.144" v="4150" actId="478"/>
          <ac:spMkLst>
            <pc:docMk/>
            <pc:sldMk cId="3907646048" sldId="383"/>
            <ac:spMk id="52" creationId="{AA0D1B58-0E94-8E75-790B-433B38FE99F9}"/>
          </ac:spMkLst>
        </pc:spChg>
        <pc:spChg chg="add mod">
          <ac:chgData name="Schäfermeier, Bastian" userId="222eb8a9-5069-4046-88bd-a10549caffd0" providerId="ADAL" clId="{A23CF501-99CC-48D5-B6C8-5BA1409F4265}" dt="2023-08-25T14:46:35.157" v="4151" actId="1076"/>
          <ac:spMkLst>
            <pc:docMk/>
            <pc:sldMk cId="3907646048" sldId="383"/>
            <ac:spMk id="53" creationId="{B36D8D02-F453-EFD9-A2A4-9AC3519CFBB5}"/>
          </ac:spMkLst>
        </pc:spChg>
        <pc:spChg chg="add del mod">
          <ac:chgData name="Schäfermeier, Bastian" userId="222eb8a9-5069-4046-88bd-a10549caffd0" providerId="ADAL" clId="{A23CF501-99CC-48D5-B6C8-5BA1409F4265}" dt="2023-08-25T14:47:23.644" v="4182" actId="478"/>
          <ac:spMkLst>
            <pc:docMk/>
            <pc:sldMk cId="3907646048" sldId="383"/>
            <ac:spMk id="54" creationId="{A6E7A8D6-803F-245D-36EC-C79D22E9F0DC}"/>
          </ac:spMkLst>
        </pc:spChg>
        <pc:spChg chg="add del mod">
          <ac:chgData name="Schäfermeier, Bastian" userId="222eb8a9-5069-4046-88bd-a10549caffd0" providerId="ADAL" clId="{A23CF501-99CC-48D5-B6C8-5BA1409F4265}" dt="2023-08-25T14:47:23.644" v="4182" actId="478"/>
          <ac:spMkLst>
            <pc:docMk/>
            <pc:sldMk cId="3907646048" sldId="383"/>
            <ac:spMk id="55" creationId="{0F61DA01-A0A9-4674-0629-99E54F3BC8E7}"/>
          </ac:spMkLst>
        </pc:spChg>
        <pc:spChg chg="add mod">
          <ac:chgData name="Schäfermeier, Bastian" userId="222eb8a9-5069-4046-88bd-a10549caffd0" providerId="ADAL" clId="{A23CF501-99CC-48D5-B6C8-5BA1409F4265}" dt="2023-08-25T14:47:50.765" v="4197" actId="14100"/>
          <ac:spMkLst>
            <pc:docMk/>
            <pc:sldMk cId="3907646048" sldId="383"/>
            <ac:spMk id="56" creationId="{0A531A6A-5CAF-1A7E-7B31-9808F607E9DD}"/>
          </ac:spMkLst>
        </pc:spChg>
        <pc:spChg chg="add mod">
          <ac:chgData name="Schäfermeier, Bastian" userId="222eb8a9-5069-4046-88bd-a10549caffd0" providerId="ADAL" clId="{A23CF501-99CC-48D5-B6C8-5BA1409F4265}" dt="2023-08-25T14:47:36.960" v="4186" actId="1076"/>
          <ac:spMkLst>
            <pc:docMk/>
            <pc:sldMk cId="3907646048" sldId="383"/>
            <ac:spMk id="57" creationId="{26A3AE9C-0D10-D5E0-3268-0E24723A7AE8}"/>
          </ac:spMkLst>
        </pc:spChg>
        <pc:spChg chg="add mod">
          <ac:chgData name="Schäfermeier, Bastian" userId="222eb8a9-5069-4046-88bd-a10549caffd0" providerId="ADAL" clId="{A23CF501-99CC-48D5-B6C8-5BA1409F4265}" dt="2023-08-25T14:48:01.137" v="4218" actId="5793"/>
          <ac:spMkLst>
            <pc:docMk/>
            <pc:sldMk cId="3907646048" sldId="383"/>
            <ac:spMk id="58" creationId="{F8CCE30F-4D82-5888-DC46-66D4806072E8}"/>
          </ac:spMkLst>
        </pc:spChg>
        <pc:spChg chg="add mod">
          <ac:chgData name="Schäfermeier, Bastian" userId="222eb8a9-5069-4046-88bd-a10549caffd0" providerId="ADAL" clId="{A23CF501-99CC-48D5-B6C8-5BA1409F4265}" dt="2023-08-25T14:47:55.576" v="4212" actId="1037"/>
          <ac:spMkLst>
            <pc:docMk/>
            <pc:sldMk cId="3907646048" sldId="383"/>
            <ac:spMk id="59" creationId="{B1611E87-C65B-012E-BAD1-6BA0F14B8C4B}"/>
          </ac:spMkLst>
        </pc:spChg>
        <pc:spChg chg="add mod">
          <ac:chgData name="Schäfermeier, Bastian" userId="222eb8a9-5069-4046-88bd-a10549caffd0" providerId="ADAL" clId="{A23CF501-99CC-48D5-B6C8-5BA1409F4265}" dt="2023-08-25T14:49:59.279" v="4240" actId="20577"/>
          <ac:spMkLst>
            <pc:docMk/>
            <pc:sldMk cId="3907646048" sldId="383"/>
            <ac:spMk id="63" creationId="{A7CDC468-30A8-04B5-04FA-D6D13055C5DD}"/>
          </ac:spMkLst>
        </pc:spChg>
        <pc:spChg chg="add mod">
          <ac:chgData name="Schäfermeier, Bastian" userId="222eb8a9-5069-4046-88bd-a10549caffd0" providerId="ADAL" clId="{A23CF501-99CC-48D5-B6C8-5BA1409F4265}" dt="2023-08-25T14:50:41.511" v="4268" actId="20577"/>
          <ac:spMkLst>
            <pc:docMk/>
            <pc:sldMk cId="3907646048" sldId="383"/>
            <ac:spMk id="64" creationId="{72067B41-C840-B216-28AD-4F518B2B2B2C}"/>
          </ac:spMkLst>
        </pc:spChg>
        <pc:spChg chg="add mod">
          <ac:chgData name="Schäfermeier, Bastian" userId="222eb8a9-5069-4046-88bd-a10549caffd0" providerId="ADAL" clId="{A23CF501-99CC-48D5-B6C8-5BA1409F4265}" dt="2023-08-25T14:50:56.706" v="4271" actId="1076"/>
          <ac:spMkLst>
            <pc:docMk/>
            <pc:sldMk cId="3907646048" sldId="383"/>
            <ac:spMk id="65" creationId="{B5B76FB3-2BCB-EC77-25C8-81898F825832}"/>
          </ac:spMkLst>
        </pc:spChg>
        <pc:spChg chg="add mod">
          <ac:chgData name="Schäfermeier, Bastian" userId="222eb8a9-5069-4046-88bd-a10549caffd0" providerId="ADAL" clId="{A23CF501-99CC-48D5-B6C8-5BA1409F4265}" dt="2023-08-25T14:49:50.498" v="4229" actId="1076"/>
          <ac:spMkLst>
            <pc:docMk/>
            <pc:sldMk cId="3907646048" sldId="383"/>
            <ac:spMk id="66" creationId="{E5EE1DDA-18EA-CB98-2A64-ADA673A9B690}"/>
          </ac:spMkLst>
        </pc:spChg>
        <pc:grpChg chg="add mod">
          <ac:chgData name="Schäfermeier, Bastian" userId="222eb8a9-5069-4046-88bd-a10549caffd0" providerId="ADAL" clId="{A23CF501-99CC-48D5-B6C8-5BA1409F4265}" dt="2023-08-25T14:42:15.989" v="3992" actId="1076"/>
          <ac:grpSpMkLst>
            <pc:docMk/>
            <pc:sldMk cId="3907646048" sldId="383"/>
            <ac:grpSpMk id="30" creationId="{E568EE75-D3F7-B00C-7546-754B7CA076CC}"/>
          </ac:grpSpMkLst>
        </pc:grpChg>
        <pc:picChg chg="add mod">
          <ac:chgData name="Schäfermeier, Bastian" userId="222eb8a9-5069-4046-88bd-a10549caffd0" providerId="ADAL" clId="{A23CF501-99CC-48D5-B6C8-5BA1409F4265}" dt="2023-08-25T14:27:44.313" v="3796" actId="1076"/>
          <ac:picMkLst>
            <pc:docMk/>
            <pc:sldMk cId="3907646048" sldId="383"/>
            <ac:picMk id="11" creationId="{9B66CF34-369A-8127-F0B6-0EABA34AEA4D}"/>
          </ac:picMkLst>
        </pc:picChg>
        <pc:picChg chg="add mod">
          <ac:chgData name="Schäfermeier, Bastian" userId="222eb8a9-5069-4046-88bd-a10549caffd0" providerId="ADAL" clId="{A23CF501-99CC-48D5-B6C8-5BA1409F4265}" dt="2023-08-25T14:37:26.067" v="3866" actId="1076"/>
          <ac:picMkLst>
            <pc:docMk/>
            <pc:sldMk cId="3907646048" sldId="383"/>
            <ac:picMk id="12" creationId="{21F6300A-DF3E-1C04-6C37-71925ABE50BA}"/>
          </ac:picMkLst>
        </pc:picChg>
        <pc:picChg chg="add mod">
          <ac:chgData name="Schäfermeier, Bastian" userId="222eb8a9-5069-4046-88bd-a10549caffd0" providerId="ADAL" clId="{A23CF501-99CC-48D5-B6C8-5BA1409F4265}" dt="2023-08-25T14:49:11.480" v="4226" actId="14100"/>
          <ac:picMkLst>
            <pc:docMk/>
            <pc:sldMk cId="3907646048" sldId="383"/>
            <ac:picMk id="61" creationId="{02F1E241-1546-B135-5280-A78DAD8310D1}"/>
          </ac:picMkLst>
        </pc:picChg>
        <pc:picChg chg="add mod">
          <ac:chgData name="Schäfermeier, Bastian" userId="222eb8a9-5069-4046-88bd-a10549caffd0" providerId="ADAL" clId="{A23CF501-99CC-48D5-B6C8-5BA1409F4265}" dt="2023-08-25T14:49:15.632" v="4227" actId="14100"/>
          <ac:picMkLst>
            <pc:docMk/>
            <pc:sldMk cId="3907646048" sldId="383"/>
            <ac:picMk id="62" creationId="{84891C2C-C2CC-3631-5391-68F9BA8F6AE2}"/>
          </ac:picMkLst>
        </pc:picChg>
      </pc:sldChg>
      <pc:sldChg chg="modSp add del mod">
        <pc:chgData name="Schäfermeier, Bastian" userId="222eb8a9-5069-4046-88bd-a10549caffd0" providerId="ADAL" clId="{A23CF501-99CC-48D5-B6C8-5BA1409F4265}" dt="2023-08-25T13:15:51.202" v="1571" actId="47"/>
        <pc:sldMkLst>
          <pc:docMk/>
          <pc:sldMk cId="1325359961" sldId="384"/>
        </pc:sldMkLst>
        <pc:spChg chg="mod">
          <ac:chgData name="Schäfermeier, Bastian" userId="222eb8a9-5069-4046-88bd-a10549caffd0" providerId="ADAL" clId="{A23CF501-99CC-48D5-B6C8-5BA1409F4265}" dt="2023-08-25T13:13:06.558" v="1434" actId="20577"/>
          <ac:spMkLst>
            <pc:docMk/>
            <pc:sldMk cId="1325359961" sldId="384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A23CF501-99CC-48D5-B6C8-5BA1409F4265}" dt="2023-08-25T13:10:10.780" v="1157" actId="20577"/>
          <ac:spMkLst>
            <pc:docMk/>
            <pc:sldMk cId="1325359961" sldId="384"/>
            <ac:spMk id="7" creationId="{22464388-2ECA-4EEA-8E18-9F2C9F7BAE36}"/>
          </ac:spMkLst>
        </pc:spChg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3376951999" sldId="384"/>
        </pc:sldMkLst>
      </pc:sldChg>
      <pc:sldChg chg="addSp delSp modSp add mod">
        <pc:chgData name="Schäfermeier, Bastian" userId="222eb8a9-5069-4046-88bd-a10549caffd0" providerId="ADAL" clId="{A23CF501-99CC-48D5-B6C8-5BA1409F4265}" dt="2023-08-25T14:23:05.956" v="3752" actId="20577"/>
        <pc:sldMkLst>
          <pc:docMk/>
          <pc:sldMk cId="2770105539" sldId="385"/>
        </pc:sldMkLst>
        <pc:spChg chg="mod">
          <ac:chgData name="Schäfermeier, Bastian" userId="222eb8a9-5069-4046-88bd-a10549caffd0" providerId="ADAL" clId="{A23CF501-99CC-48D5-B6C8-5BA1409F4265}" dt="2023-08-25T14:23:05.956" v="3752" actId="20577"/>
          <ac:spMkLst>
            <pc:docMk/>
            <pc:sldMk cId="2770105539" sldId="385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2" creationId="{E7D956E2-DA39-32DE-AF61-4942BF3DEF92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3" creationId="{4FCB1EF7-7CA0-BCDD-7F7F-E38FA94DA1D5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4" creationId="{62C5CEE9-CD1E-B6C4-5949-D1C8FD9F1608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6" creationId="{D19C2540-46B0-68D0-BF6C-C4934B9969DF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7" creationId="{9441CCC5-ECA0-752D-195B-4F2274896D2E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8" creationId="{75883EB2-1BF4-EE26-9AE0-26A60B605057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19" creationId="{B1A207D6-BC3A-9232-4631-4B6363985A26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20" creationId="{6AD0A966-1AAE-A6C8-D0C9-6D7B8749E1A0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21" creationId="{E1BB0E97-A932-0995-38F1-7B7927C2F0D2}"/>
          </ac:spMkLst>
        </pc:spChg>
        <pc:spChg chg="mod">
          <ac:chgData name="Schäfermeier, Bastian" userId="222eb8a9-5069-4046-88bd-a10549caffd0" providerId="ADAL" clId="{A23CF501-99CC-48D5-B6C8-5BA1409F4265}" dt="2023-08-25T14:13:46.266" v="3553"/>
          <ac:spMkLst>
            <pc:docMk/>
            <pc:sldMk cId="2770105539" sldId="385"/>
            <ac:spMk id="22" creationId="{D509BCE8-C9D5-E6B1-A3E0-DEFEDB789E02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24" creationId="{EDBE9629-4F2F-207D-8494-9E1C48A66078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26" creationId="{47C82941-3E73-7075-EB98-6B3CECBB1678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27" creationId="{404E12BB-6A35-CDDF-C164-F1A1D6BC5DB6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28" creationId="{53410B68-D78A-D815-A3C7-E978E4392209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29" creationId="{F44232AA-0899-5930-1DEB-FB152A477026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0" creationId="{E1FD780D-6A77-48F3-F71B-9ABC9A98DB12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1" creationId="{D9D76B78-9770-6BB5-E23F-EEFD50DD232D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2" creationId="{5459F4F6-D2E6-B1D7-0D1D-8DB12F4D0CEE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3" creationId="{0F4ACB9C-DF22-75CF-532C-A40CEA5A0B01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4" creationId="{410B764D-B593-E7E7-3E4D-55EA2380730C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5" creationId="{2F2DDC2B-1521-11FA-897C-89A5550EF124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6" creationId="{FC809DA9-BD02-F9A7-E79F-E7DB37250C1D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7" creationId="{78686382-82DA-A796-8A13-8D25B2B4ED38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8" creationId="{0611B891-6082-1402-376D-3AE2B6E7D91A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39" creationId="{D25D421C-942B-C914-8BA6-3B0286866217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0" creationId="{E3AC4A1F-5131-7580-077F-F59CD3AF9F96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1" creationId="{85D2185B-487F-5258-D239-2D59188D08CC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2" creationId="{548ECA1A-FB34-E7BC-AEB3-5E6488684A7A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3" creationId="{DB2A018E-61EF-EFC3-623B-C66AEC327189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4" creationId="{B963A91B-508D-3DA2-2EFD-2312355A91E5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5" creationId="{635B520D-34A2-F554-0FA0-849DB35C38AD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6" creationId="{EA25A7A6-1C0F-23ED-CC7D-BAC212404241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7" creationId="{27C14F0B-9F75-CB8C-3646-20B229153237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8" creationId="{5A83BFB4-2C89-A5EF-9116-908B47591DFC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49" creationId="{4CC17747-3340-2A5D-8D75-8F81552C2C22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0" creationId="{9BFB3789-1D29-1F7D-847E-321647DF8C44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1" creationId="{73FC71A1-311C-2558-BA57-D2428469FADE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2" creationId="{91339178-CEAE-AAE7-E47E-CF2288C83B14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3" creationId="{E2E7D488-8180-CF1A-51C7-D57C9BE712BC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4" creationId="{5360ED50-21D2-9FB3-E045-70A256D3EA2E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5" creationId="{FB9A4E50-77A1-B6F7-4C6E-F51B40E42BD8}"/>
          </ac:spMkLst>
        </pc:spChg>
        <pc:spChg chg="mod">
          <ac:chgData name="Schäfermeier, Bastian" userId="222eb8a9-5069-4046-88bd-a10549caffd0" providerId="ADAL" clId="{A23CF501-99CC-48D5-B6C8-5BA1409F4265}" dt="2023-08-25T14:14:15.288" v="3556"/>
          <ac:spMkLst>
            <pc:docMk/>
            <pc:sldMk cId="2770105539" sldId="385"/>
            <ac:spMk id="56" creationId="{71ADA0B6-BBC3-B3BC-12E0-89E2A28967D1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58" creationId="{6ABF1E75-7CA4-B14A-79FB-7C57337BA57C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59" creationId="{50B96218-2D3F-5BD2-9390-8362FBF687D3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0" creationId="{BD2FD2B6-B853-A396-735E-BBBEECB7727B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1" creationId="{ED622051-FEC1-AECA-C39E-8D4E111F3DC0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2" creationId="{A1011938-C810-9E40-A5A0-4131B5928D1D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3" creationId="{D8D6BCE8-663A-EB32-DA4B-F8C595798406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4" creationId="{48A03D33-E013-FCA0-B460-23463594B9D2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5" creationId="{1135238A-3051-A9EA-F80B-22C314DF0ADA}"/>
          </ac:spMkLst>
        </pc:spChg>
        <pc:spChg chg="mod">
          <ac:chgData name="Schäfermeier, Bastian" userId="222eb8a9-5069-4046-88bd-a10549caffd0" providerId="ADAL" clId="{A23CF501-99CC-48D5-B6C8-5BA1409F4265}" dt="2023-08-25T14:14:37.199" v="3559"/>
          <ac:spMkLst>
            <pc:docMk/>
            <pc:sldMk cId="2770105539" sldId="385"/>
            <ac:spMk id="66" creationId="{A7B10471-721A-F900-7500-124D364D54E6}"/>
          </ac:spMkLst>
        </pc:spChg>
        <pc:spChg chg="add mod">
          <ac:chgData name="Schäfermeier, Bastian" userId="222eb8a9-5069-4046-88bd-a10549caffd0" providerId="ADAL" clId="{A23CF501-99CC-48D5-B6C8-5BA1409F4265}" dt="2023-08-25T14:21:00.192" v="3662" actId="1076"/>
          <ac:spMkLst>
            <pc:docMk/>
            <pc:sldMk cId="2770105539" sldId="385"/>
            <ac:spMk id="93" creationId="{A51A7BD9-088F-7E7F-9326-B7B36A0F3433}"/>
          </ac:spMkLst>
        </pc:spChg>
        <pc:grpChg chg="add del mod">
          <ac:chgData name="Schäfermeier, Bastian" userId="222eb8a9-5069-4046-88bd-a10549caffd0" providerId="ADAL" clId="{A23CF501-99CC-48D5-B6C8-5BA1409F4265}" dt="2023-08-25T14:13:55.127" v="3555" actId="478"/>
          <ac:grpSpMkLst>
            <pc:docMk/>
            <pc:sldMk cId="2770105539" sldId="385"/>
            <ac:grpSpMk id="10" creationId="{B63A9861-EF29-D972-E9B3-154BCC6B9F9F}"/>
          </ac:grpSpMkLst>
        </pc:grpChg>
        <pc:grpChg chg="mod">
          <ac:chgData name="Schäfermeier, Bastian" userId="222eb8a9-5069-4046-88bd-a10549caffd0" providerId="ADAL" clId="{A23CF501-99CC-48D5-B6C8-5BA1409F4265}" dt="2023-08-25T14:13:46.266" v="3553"/>
          <ac:grpSpMkLst>
            <pc:docMk/>
            <pc:sldMk cId="2770105539" sldId="385"/>
            <ac:grpSpMk id="11" creationId="{C8C9EA16-D202-EA85-EBCF-3B2675BD5DC1}"/>
          </ac:grpSpMkLst>
        </pc:grpChg>
        <pc:grpChg chg="mod">
          <ac:chgData name="Schäfermeier, Bastian" userId="222eb8a9-5069-4046-88bd-a10549caffd0" providerId="ADAL" clId="{A23CF501-99CC-48D5-B6C8-5BA1409F4265}" dt="2023-08-25T14:13:46.266" v="3553"/>
          <ac:grpSpMkLst>
            <pc:docMk/>
            <pc:sldMk cId="2770105539" sldId="385"/>
            <ac:grpSpMk id="15" creationId="{224B1490-0EF3-4F61-9C3B-C0BE0016BBC4}"/>
          </ac:grpSpMkLst>
        </pc:grpChg>
        <pc:grpChg chg="add mod">
          <ac:chgData name="Schäfermeier, Bastian" userId="222eb8a9-5069-4046-88bd-a10549caffd0" providerId="ADAL" clId="{A23CF501-99CC-48D5-B6C8-5BA1409F4265}" dt="2023-08-25T14:18:45.896" v="3629" actId="1076"/>
          <ac:grpSpMkLst>
            <pc:docMk/>
            <pc:sldMk cId="2770105539" sldId="385"/>
            <ac:grpSpMk id="23" creationId="{253E9675-2687-AE59-6A21-9E8DE1189704}"/>
          </ac:grpSpMkLst>
        </pc:grpChg>
        <pc:grpChg chg="mod">
          <ac:chgData name="Schäfermeier, Bastian" userId="222eb8a9-5069-4046-88bd-a10549caffd0" providerId="ADAL" clId="{A23CF501-99CC-48D5-B6C8-5BA1409F4265}" dt="2023-08-25T14:14:15.288" v="3556"/>
          <ac:grpSpMkLst>
            <pc:docMk/>
            <pc:sldMk cId="2770105539" sldId="385"/>
            <ac:grpSpMk id="25" creationId="{DF4E9416-817F-E9FC-15F1-888A70176470}"/>
          </ac:grpSpMkLst>
        </pc:grpChg>
        <pc:grpChg chg="add mod">
          <ac:chgData name="Schäfermeier, Bastian" userId="222eb8a9-5069-4046-88bd-a10549caffd0" providerId="ADAL" clId="{A23CF501-99CC-48D5-B6C8-5BA1409F4265}" dt="2023-08-25T14:14:50.660" v="3565" actId="1076"/>
          <ac:grpSpMkLst>
            <pc:docMk/>
            <pc:sldMk cId="2770105539" sldId="385"/>
            <ac:grpSpMk id="57" creationId="{7EF79356-848C-D871-87DF-98452D6EF442}"/>
          </ac:grpSpMkLst>
        </pc:grpChg>
        <pc:grpChg chg="add mod">
          <ac:chgData name="Schäfermeier, Bastian" userId="222eb8a9-5069-4046-88bd-a10549caffd0" providerId="ADAL" clId="{A23CF501-99CC-48D5-B6C8-5BA1409F4265}" dt="2023-08-25T14:19:07.608" v="3631" actId="164"/>
          <ac:grpSpMkLst>
            <pc:docMk/>
            <pc:sldMk cId="2770105539" sldId="385"/>
            <ac:grpSpMk id="89" creationId="{15591F72-23B2-758B-1A31-166DA0DF0567}"/>
          </ac:grpSpMkLst>
        </pc:grpChg>
        <pc:grpChg chg="add del mod">
          <ac:chgData name="Schäfermeier, Bastian" userId="222eb8a9-5069-4046-88bd-a10549caffd0" providerId="ADAL" clId="{A23CF501-99CC-48D5-B6C8-5BA1409F4265}" dt="2023-08-25T14:19:48.848" v="3634" actId="165"/>
          <ac:grpSpMkLst>
            <pc:docMk/>
            <pc:sldMk cId="2770105539" sldId="385"/>
            <ac:grpSpMk id="90" creationId="{6C013679-8BFC-2E70-173F-52120FA6BC0B}"/>
          </ac:grpSpMkLst>
        </pc:grpChg>
        <pc:grpChg chg="add del mod">
          <ac:chgData name="Schäfermeier, Bastian" userId="222eb8a9-5069-4046-88bd-a10549caffd0" providerId="ADAL" clId="{A23CF501-99CC-48D5-B6C8-5BA1409F4265}" dt="2023-08-25T14:20:21.101" v="3640" actId="165"/>
          <ac:grpSpMkLst>
            <pc:docMk/>
            <pc:sldMk cId="2770105539" sldId="385"/>
            <ac:grpSpMk id="91" creationId="{1574A4D2-E279-38B5-D42F-00303E887468}"/>
          </ac:grpSpMkLst>
        </pc:grpChg>
        <pc:picChg chg="add mod">
          <ac:chgData name="Schäfermeier, Bastian" userId="222eb8a9-5069-4046-88bd-a10549caffd0" providerId="ADAL" clId="{A23CF501-99CC-48D5-B6C8-5BA1409F4265}" dt="2023-08-25T14:18:24.945" v="3625" actId="1076"/>
          <ac:picMkLst>
            <pc:docMk/>
            <pc:sldMk cId="2770105539" sldId="385"/>
            <ac:picMk id="8" creationId="{3E40E7CF-AF39-0BBB-F66C-4A5EC301C6B7}"/>
          </ac:picMkLst>
        </pc:picChg>
        <pc:cxnChg chg="add del mod">
          <ac:chgData name="Schäfermeier, Bastian" userId="222eb8a9-5069-4046-88bd-a10549caffd0" providerId="ADAL" clId="{A23CF501-99CC-48D5-B6C8-5BA1409F4265}" dt="2023-08-25T14:18:28.996" v="3627" actId="478"/>
          <ac:cxnSpMkLst>
            <pc:docMk/>
            <pc:sldMk cId="2770105539" sldId="385"/>
            <ac:cxnSpMk id="68" creationId="{BC2969DE-B420-5035-1685-B3F00C8E0664}"/>
          </ac:cxnSpMkLst>
        </pc:cxnChg>
        <pc:cxnChg chg="add del mod ord">
          <ac:chgData name="Schäfermeier, Bastian" userId="222eb8a9-5069-4046-88bd-a10549caffd0" providerId="ADAL" clId="{A23CF501-99CC-48D5-B6C8-5BA1409F4265}" dt="2023-08-25T14:17:07.635" v="3610" actId="478"/>
          <ac:cxnSpMkLst>
            <pc:docMk/>
            <pc:sldMk cId="2770105539" sldId="385"/>
            <ac:cxnSpMk id="72" creationId="{3A9C6798-3707-4851-50AE-F26F4AD27AFF}"/>
          </ac:cxnSpMkLst>
        </pc:cxnChg>
        <pc:cxnChg chg="add mod topLvl">
          <ac:chgData name="Schäfermeier, Bastian" userId="222eb8a9-5069-4046-88bd-a10549caffd0" providerId="ADAL" clId="{A23CF501-99CC-48D5-B6C8-5BA1409F4265}" dt="2023-08-25T14:20:21.101" v="3640" actId="165"/>
          <ac:cxnSpMkLst>
            <pc:docMk/>
            <pc:sldMk cId="2770105539" sldId="385"/>
            <ac:cxnSpMk id="77" creationId="{9A940E3D-F851-E976-0551-A83837A6B110}"/>
          </ac:cxnSpMkLst>
        </pc:cxnChg>
        <pc:cxnChg chg="add mod topLvl">
          <ac:chgData name="Schäfermeier, Bastian" userId="222eb8a9-5069-4046-88bd-a10549caffd0" providerId="ADAL" clId="{A23CF501-99CC-48D5-B6C8-5BA1409F4265}" dt="2023-08-25T14:20:21.101" v="3640" actId="165"/>
          <ac:cxnSpMkLst>
            <pc:docMk/>
            <pc:sldMk cId="2770105539" sldId="385"/>
            <ac:cxnSpMk id="79" creationId="{D9A09F25-90E0-F76C-D931-DD6F9DB0876E}"/>
          </ac:cxnSpMkLst>
        </pc:cxnChg>
        <pc:cxnChg chg="add mod topLvl">
          <ac:chgData name="Schäfermeier, Bastian" userId="222eb8a9-5069-4046-88bd-a10549caffd0" providerId="ADAL" clId="{A23CF501-99CC-48D5-B6C8-5BA1409F4265}" dt="2023-08-25T14:20:21.101" v="3640" actId="165"/>
          <ac:cxnSpMkLst>
            <pc:docMk/>
            <pc:sldMk cId="2770105539" sldId="385"/>
            <ac:cxnSpMk id="81" creationId="{F84BEA51-2AA9-7CCD-E43A-F71BCEDAA037}"/>
          </ac:cxnSpMkLst>
        </pc:cxnChg>
        <pc:cxnChg chg="add mod topLvl">
          <ac:chgData name="Schäfermeier, Bastian" userId="222eb8a9-5069-4046-88bd-a10549caffd0" providerId="ADAL" clId="{A23CF501-99CC-48D5-B6C8-5BA1409F4265}" dt="2023-08-25T14:20:21.101" v="3640" actId="165"/>
          <ac:cxnSpMkLst>
            <pc:docMk/>
            <pc:sldMk cId="2770105539" sldId="385"/>
            <ac:cxnSpMk id="88" creationId="{EAFD5E68-90D6-F668-2F65-7399C944C411}"/>
          </ac:cxnSpMkLst>
        </pc:cxnChg>
        <pc:cxnChg chg="add mod">
          <ac:chgData name="Schäfermeier, Bastian" userId="222eb8a9-5069-4046-88bd-a10549caffd0" providerId="ADAL" clId="{A23CF501-99CC-48D5-B6C8-5BA1409F4265}" dt="2023-08-25T14:20:27.910" v="3642" actId="1076"/>
          <ac:cxnSpMkLst>
            <pc:docMk/>
            <pc:sldMk cId="2770105539" sldId="385"/>
            <ac:cxnSpMk id="92" creationId="{5C198A6A-248E-C46E-E44E-DD68776AE096}"/>
          </ac:cxnSpMkLst>
        </pc:cxnChg>
      </pc:sldChg>
      <pc:sldChg chg="addSp delSp modSp add mod">
        <pc:chgData name="Schäfermeier, Bastian" userId="222eb8a9-5069-4046-88bd-a10549caffd0" providerId="ADAL" clId="{A23CF501-99CC-48D5-B6C8-5BA1409F4265}" dt="2023-08-25T14:37:51.295" v="3867" actId="20577"/>
        <pc:sldMkLst>
          <pc:docMk/>
          <pc:sldMk cId="726224777" sldId="386"/>
        </pc:sldMkLst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" creationId="{AF197BDB-07DD-6370-6A2D-9A2586A49FDA}"/>
          </ac:spMkLst>
        </pc:spChg>
        <pc:spChg chg="mod">
          <ac:chgData name="Schäfermeier, Bastian" userId="222eb8a9-5069-4046-88bd-a10549caffd0" providerId="ADAL" clId="{A23CF501-99CC-48D5-B6C8-5BA1409F4265}" dt="2023-08-25T14:37:51.295" v="3867" actId="20577"/>
          <ac:spMkLst>
            <pc:docMk/>
            <pc:sldMk cId="726224777" sldId="386"/>
            <ac:spMk id="5" creationId="{DBCE971E-BC53-5208-D0B0-346B7A5D6E36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13" creationId="{2E1D500E-AFD5-87F9-5AF7-F9D62412736A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18" creationId="{EAC7A614-571C-A8CE-14A2-BBC8D128E102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5" creationId="{5C64097B-6EBF-2D73-7C4C-8DEE40E0443D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6" creationId="{16B8D1D9-1F8A-49A5-BD29-70A5BAAC85A1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7" creationId="{32DDEFC7-BD23-E77C-2B5D-C9F0F4FD884C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8" creationId="{A3DE78C5-9099-62D8-89A6-B37ECA4BFE10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29" creationId="{C41026B1-29BF-F278-425F-CADDF8605749}"/>
          </ac:spMkLst>
        </pc:spChg>
        <pc:spChg chg="add mod">
          <ac:chgData name="Schäfermeier, Bastian" userId="222eb8a9-5069-4046-88bd-a10549caffd0" providerId="ADAL" clId="{A23CF501-99CC-48D5-B6C8-5BA1409F4265}" dt="2023-08-25T14:10:25.908" v="3512" actId="1076"/>
          <ac:spMkLst>
            <pc:docMk/>
            <pc:sldMk cId="726224777" sldId="386"/>
            <ac:spMk id="30" creationId="{AD7557AD-9588-8F33-2DBC-83C3D2DA7CAC}"/>
          </ac:spMkLst>
        </pc:spChg>
        <pc:cxnChg chg="add mod">
          <ac:chgData name="Schäfermeier, Bastian" userId="222eb8a9-5069-4046-88bd-a10549caffd0" providerId="ADAL" clId="{A23CF501-99CC-48D5-B6C8-5BA1409F4265}" dt="2023-08-25T14:10:25.908" v="3512" actId="1076"/>
          <ac:cxnSpMkLst>
            <pc:docMk/>
            <pc:sldMk cId="726224777" sldId="386"/>
            <ac:cxnSpMk id="10" creationId="{2141FD49-DBFB-7434-E973-511ECFBFDF53}"/>
          </ac:cxnSpMkLst>
        </pc:cxnChg>
        <pc:cxnChg chg="add del mod">
          <ac:chgData name="Schäfermeier, Bastian" userId="222eb8a9-5069-4046-88bd-a10549caffd0" providerId="ADAL" clId="{A23CF501-99CC-48D5-B6C8-5BA1409F4265}" dt="2023-08-25T14:06:59.234" v="3399" actId="478"/>
          <ac:cxnSpMkLst>
            <pc:docMk/>
            <pc:sldMk cId="726224777" sldId="386"/>
            <ac:cxnSpMk id="12" creationId="{F44E7931-8FF2-DE20-420F-1F513931306C}"/>
          </ac:cxnSpMkLst>
        </pc:cxnChg>
        <pc:cxnChg chg="add del mod">
          <ac:chgData name="Schäfermeier, Bastian" userId="222eb8a9-5069-4046-88bd-a10549caffd0" providerId="ADAL" clId="{A23CF501-99CC-48D5-B6C8-5BA1409F4265}" dt="2023-08-25T14:04:25.126" v="3381" actId="11529"/>
          <ac:cxnSpMkLst>
            <pc:docMk/>
            <pc:sldMk cId="726224777" sldId="386"/>
            <ac:cxnSpMk id="15" creationId="{149ED1FC-7E24-926A-DE3B-AF56F3D6AF26}"/>
          </ac:cxnSpMkLst>
        </pc:cxnChg>
        <pc:cxnChg chg="add mod">
          <ac:chgData name="Schäfermeier, Bastian" userId="222eb8a9-5069-4046-88bd-a10549caffd0" providerId="ADAL" clId="{A23CF501-99CC-48D5-B6C8-5BA1409F4265}" dt="2023-08-25T14:10:25.908" v="3512" actId="1076"/>
          <ac:cxnSpMkLst>
            <pc:docMk/>
            <pc:sldMk cId="726224777" sldId="386"/>
            <ac:cxnSpMk id="17" creationId="{0EBA11B4-D12A-AD10-0469-A7924D6437FF}"/>
          </ac:cxnSpMkLst>
        </pc:cxnChg>
        <pc:cxnChg chg="add mod">
          <ac:chgData name="Schäfermeier, Bastian" userId="222eb8a9-5069-4046-88bd-a10549caffd0" providerId="ADAL" clId="{A23CF501-99CC-48D5-B6C8-5BA1409F4265}" dt="2023-08-25T14:10:25.908" v="3512" actId="1076"/>
          <ac:cxnSpMkLst>
            <pc:docMk/>
            <pc:sldMk cId="726224777" sldId="386"/>
            <ac:cxnSpMk id="22" creationId="{1EC19241-AB41-C317-113F-214F08793929}"/>
          </ac:cxnSpMkLst>
        </pc:cxnChg>
        <pc:cxnChg chg="add mod">
          <ac:chgData name="Schäfermeier, Bastian" userId="222eb8a9-5069-4046-88bd-a10549caffd0" providerId="ADAL" clId="{A23CF501-99CC-48D5-B6C8-5BA1409F4265}" dt="2023-08-25T14:10:25.908" v="3512" actId="1076"/>
          <ac:cxnSpMkLst>
            <pc:docMk/>
            <pc:sldMk cId="726224777" sldId="386"/>
            <ac:cxnSpMk id="23" creationId="{2C76354F-6162-7EA3-82DF-95C7EE25886E}"/>
          </ac:cxnSpMkLst>
        </pc:cxnChg>
        <pc:cxnChg chg="add mod">
          <ac:chgData name="Schäfermeier, Bastian" userId="222eb8a9-5069-4046-88bd-a10549caffd0" providerId="ADAL" clId="{A23CF501-99CC-48D5-B6C8-5BA1409F4265}" dt="2023-08-25T14:10:25.908" v="3512" actId="1076"/>
          <ac:cxnSpMkLst>
            <pc:docMk/>
            <pc:sldMk cId="726224777" sldId="386"/>
            <ac:cxnSpMk id="24" creationId="{166198BC-FBF8-0543-9518-E06178E76216}"/>
          </ac:cxnSpMkLst>
        </pc:cxnChg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3953651309" sldId="386"/>
        </pc:sldMkLst>
      </pc:sldChg>
      <pc:sldChg chg="addSp delSp modSp add mod">
        <pc:chgData name="Schäfermeier, Bastian" userId="222eb8a9-5069-4046-88bd-a10549caffd0" providerId="ADAL" clId="{A23CF501-99CC-48D5-B6C8-5BA1409F4265}" dt="2023-08-25T15:06:13.526" v="4941" actId="14100"/>
        <pc:sldMkLst>
          <pc:docMk/>
          <pc:sldMk cId="1845485557" sldId="387"/>
        </pc:sldMkLst>
        <pc:spChg chg="add del mod">
          <ac:chgData name="Schäfermeier, Bastian" userId="222eb8a9-5069-4046-88bd-a10549caffd0" providerId="ADAL" clId="{A23CF501-99CC-48D5-B6C8-5BA1409F4265}" dt="2023-08-25T13:29:54.523" v="3132" actId="21"/>
          <ac:spMkLst>
            <pc:docMk/>
            <pc:sldMk cId="1845485557" sldId="387"/>
            <ac:spMk id="2" creationId="{8FC00737-FCB0-16DC-155E-B9C6EA5D47B9}"/>
          </ac:spMkLst>
        </pc:spChg>
        <pc:spChg chg="mod">
          <ac:chgData name="Schäfermeier, Bastian" userId="222eb8a9-5069-4046-88bd-a10549caffd0" providerId="ADAL" clId="{A23CF501-99CC-48D5-B6C8-5BA1409F4265}" dt="2023-08-25T15:06:13.526" v="4941" actId="14100"/>
          <ac:spMkLst>
            <pc:docMk/>
            <pc:sldMk cId="1845485557" sldId="387"/>
            <ac:spMk id="5" creationId="{DBCE971E-BC53-5208-D0B0-346B7A5D6E36}"/>
          </ac:spMkLst>
        </pc:spChg>
        <pc:spChg chg="mod">
          <ac:chgData name="Schäfermeier, Bastian" userId="222eb8a9-5069-4046-88bd-a10549caffd0" providerId="ADAL" clId="{A23CF501-99CC-48D5-B6C8-5BA1409F4265}" dt="2023-08-25T13:27:16.028" v="2934" actId="20577"/>
          <ac:spMkLst>
            <pc:docMk/>
            <pc:sldMk cId="1845485557" sldId="387"/>
            <ac:spMk id="7" creationId="{22464388-2ECA-4EEA-8E18-9F2C9F7BAE36}"/>
          </ac:spMkLst>
        </pc:spChg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2524610114" sldId="387"/>
        </pc:sldMkLst>
      </pc:sldChg>
      <pc:sldChg chg="del">
        <pc:chgData name="Schäfermeier, Bastian" userId="222eb8a9-5069-4046-88bd-a10549caffd0" providerId="ADAL" clId="{A23CF501-99CC-48D5-B6C8-5BA1409F4265}" dt="2023-08-25T13:09:02.706" v="1121" actId="47"/>
        <pc:sldMkLst>
          <pc:docMk/>
          <pc:sldMk cId="1977462614" sldId="388"/>
        </pc:sldMkLst>
      </pc:sldChg>
      <pc:sldChg chg="del">
        <pc:chgData name="Schäfermeier, Bastian" userId="222eb8a9-5069-4046-88bd-a10549caffd0" providerId="ADAL" clId="{A23CF501-99CC-48D5-B6C8-5BA1409F4265}" dt="2023-08-25T13:09:02.706" v="1121" actId="47"/>
        <pc:sldMkLst>
          <pc:docMk/>
          <pc:sldMk cId="1228772662" sldId="389"/>
        </pc:sldMkLst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3911815622" sldId="390"/>
        </pc:sldMkLst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1872343906" sldId="391"/>
        </pc:sldMkLst>
      </pc:sldChg>
      <pc:sldChg chg="del">
        <pc:chgData name="Schäfermeier, Bastian" userId="222eb8a9-5069-4046-88bd-a10549caffd0" providerId="ADAL" clId="{A23CF501-99CC-48D5-B6C8-5BA1409F4265}" dt="2023-08-25T13:08:59.657" v="1120" actId="47"/>
        <pc:sldMkLst>
          <pc:docMk/>
          <pc:sldMk cId="489205870" sldId="39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9/12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Referent/Datum</a:t>
            </a:r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86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, 16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7E2D82BB-1548-4144-8D76-C0C431EF1240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48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, Frutiger Bd 20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Frutiger LT </a:t>
            </a:r>
            <a:r>
              <a:rPr lang="de-DE" err="1"/>
              <a:t>Com</a:t>
            </a:r>
            <a:r>
              <a:rPr lang="de-DE"/>
              <a:t> Lt 16 </a:t>
            </a:r>
            <a:r>
              <a:rPr lang="de-DE" err="1"/>
              <a:t>pt</a:t>
            </a:r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0D18CF-581D-4AFD-A78B-7C1FC7A80373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82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99EC068-F541-4312-9801-35A60A69C50F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167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</a:t>
            </a:r>
            <a:br>
              <a:rPr lang="de-DE"/>
            </a:br>
            <a:r>
              <a:rPr lang="de-DE"/>
              <a:t>32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FEAC3F2-7FFD-4AA3-B399-D80547284A97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18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209F03-70C9-4760-BCE3-39DF4609D022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208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3BB324E-0652-4956-802B-22F90E9AE02A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123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E878C98-6804-4E74-85B1-6C6481F1CF28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05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EE5FE33-A688-4E76-84C7-6AE86CD5F545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93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204942E-612F-4452-A98C-BE30675D1CEF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44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AF35FA-38CA-44EF-8E47-8E0282D5182B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48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AC6F8B1-0014-4786-95CD-E23A6A3E9223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EE1E0F-D989-42C4-92E6-60E1F72C6632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750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92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0AB7944-2EB8-466B-9E10-D3B91768B66B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0970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24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—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err="1"/>
              <a:t>Subline</a:t>
            </a:r>
            <a:r>
              <a:rPr lang="de-DE"/>
              <a:t>, Frutiger LT </a:t>
            </a:r>
            <a:r>
              <a:rPr lang="de-DE" err="1"/>
              <a:t>Com</a:t>
            </a:r>
            <a:r>
              <a:rPr lang="de-DE"/>
              <a:t> Lt, 20 </a:t>
            </a:r>
            <a:r>
              <a:rPr lang="de-DE" err="1"/>
              <a:t>pt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788E46-7811-4140-88F1-4CEFBE174CF8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</a:p>
          <a:p>
            <a:pPr lvl="1"/>
            <a:r>
              <a:rPr lang="de-DE"/>
              <a:t>Name des Autors</a:t>
            </a:r>
          </a:p>
          <a:p>
            <a:pPr lvl="2"/>
            <a:r>
              <a:rPr lang="de-DE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F4221C-C993-4597-8EE6-9265DA695E8C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82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</a:p>
          <a:p>
            <a:pPr lvl="1"/>
            <a:r>
              <a:rPr lang="de-DE"/>
              <a:t>Name des Autors</a:t>
            </a:r>
          </a:p>
          <a:p>
            <a:pPr lvl="2"/>
            <a:r>
              <a:rPr lang="de-DE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0EB7DE-D69A-47F7-8C66-AE1D971DBC2D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0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Titel Vorname Name</a:t>
            </a:r>
          </a:p>
          <a:p>
            <a:pPr lvl="2"/>
            <a:r>
              <a:rPr lang="de-DE"/>
              <a:t>Geschäftsbereich XXX</a:t>
            </a:r>
          </a:p>
          <a:p>
            <a:pPr lvl="2"/>
            <a:r>
              <a:rPr lang="de-DE"/>
              <a:t>Tel. +49 12 3456-XXXX</a:t>
            </a:r>
          </a:p>
          <a:p>
            <a:pPr lvl="2"/>
            <a:r>
              <a:rPr lang="de-DE"/>
              <a:t>Fax +49 12 3456-XXXX</a:t>
            </a:r>
          </a:p>
          <a:p>
            <a:pPr lvl="2"/>
            <a:r>
              <a:rPr lang="de-DE"/>
              <a:t>vorname.name@fraunhofer.de</a:t>
            </a:r>
          </a:p>
          <a:p>
            <a:pPr lvl="3"/>
            <a:endParaRPr lang="pt-BR"/>
          </a:p>
          <a:p>
            <a:pPr lvl="3"/>
            <a:r>
              <a:rPr lang="pt-BR"/>
              <a:t>Fraunhofer XYZ</a:t>
            </a:r>
          </a:p>
          <a:p>
            <a:pPr lvl="3"/>
            <a:r>
              <a:rPr lang="pt-BR"/>
              <a:t>Straße XY</a:t>
            </a:r>
          </a:p>
          <a:p>
            <a:pPr lvl="3"/>
            <a:r>
              <a:rPr lang="pt-BR"/>
              <a:t>12345 Stadt</a:t>
            </a:r>
          </a:p>
          <a:p>
            <a:pPr lvl="3"/>
            <a:r>
              <a:rPr lang="pt-BR"/>
              <a:t>www.fraunhofer.de</a:t>
            </a:r>
          </a:p>
        </p:txBody>
      </p:sp>
      <p:pic>
        <p:nvPicPr>
          <p:cNvPr id="7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47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</a:p>
          <a:p>
            <a:pPr lvl="1"/>
            <a:r>
              <a:rPr lang="de-DE"/>
              <a:t>—</a:t>
            </a:r>
          </a:p>
        </p:txBody>
      </p:sp>
      <p:pic>
        <p:nvPicPr>
          <p:cNvPr id="7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24 </a:t>
            </a:r>
            <a:r>
              <a:rPr lang="de-DE" err="1"/>
              <a:t>pt</a:t>
            </a:r>
            <a:br>
              <a:rPr lang="de-DE"/>
            </a:br>
            <a:r>
              <a:rPr lang="de-DE"/>
              <a:t>max. 3 Zeilen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Referent/Datum</a:t>
            </a:r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24 </a:t>
            </a:r>
            <a:r>
              <a:rPr lang="de-DE" err="1"/>
              <a:t>pt</a:t>
            </a:r>
            <a:r>
              <a:rPr lang="de-DE"/>
              <a:t>,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rem</a:t>
            </a:r>
            <a:r>
              <a:rPr lang="de-DE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Referent/Datum</a:t>
            </a:r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21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6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16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Lt, 32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Subline/Referent/Datum</a:t>
            </a:r>
          </a:p>
          <a:p>
            <a:pPr lvl="3"/>
            <a:r>
              <a:rPr lang="de-DE"/>
              <a:t>Referenten</a:t>
            </a:r>
          </a:p>
        </p:txBody>
      </p:sp>
      <p:pic>
        <p:nvPicPr>
          <p:cNvPr id="7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0</a:t>
            </a:r>
          </a:p>
          <a:p>
            <a:pPr lvl="1"/>
            <a:r>
              <a:rPr lang="de-DE"/>
              <a:t>—</a:t>
            </a:r>
          </a:p>
          <a:p>
            <a:pPr lvl="2"/>
            <a:r>
              <a:rPr lang="de-DE"/>
              <a:t>Headline, Frutiger LT </a:t>
            </a:r>
            <a:r>
              <a:rPr lang="de-DE" err="1"/>
              <a:t>Com</a:t>
            </a:r>
            <a:r>
              <a:rPr lang="de-DE"/>
              <a:t> Bd, 16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01FDCC-3625-47DD-BF00-48818FFA896C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1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85774" y="485775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/>
              <a:t>Level 1</a:t>
            </a:r>
          </a:p>
          <a:p>
            <a:pPr lvl="1"/>
            <a:r>
              <a:rPr lang="de-DE" noProof="0"/>
              <a:t>Level 2</a:t>
            </a:r>
          </a:p>
          <a:p>
            <a:pPr lvl="2"/>
            <a:r>
              <a:rPr lang="de-DE" noProof="0"/>
              <a:t>Level 3</a:t>
            </a:r>
          </a:p>
          <a:p>
            <a:pPr lvl="3"/>
            <a:r>
              <a:rPr lang="de-DE" noProof="0"/>
              <a:t>Level 4</a:t>
            </a:r>
          </a:p>
          <a:p>
            <a:pPr lvl="4"/>
            <a:r>
              <a:rPr lang="de-DE" noProof="0"/>
              <a:t>Level 5</a:t>
            </a:r>
          </a:p>
          <a:p>
            <a:pPr lvl="5"/>
            <a:r>
              <a:rPr lang="de-DE" noProof="0"/>
              <a:t>Level 6</a:t>
            </a:r>
          </a:p>
          <a:p>
            <a:pPr lvl="6"/>
            <a:r>
              <a:rPr lang="de-DE" noProof="0"/>
              <a:t>Level 7</a:t>
            </a:r>
          </a:p>
          <a:p>
            <a:pPr lvl="7"/>
            <a:r>
              <a:rPr lang="de-DE" noProof="0"/>
              <a:t>Level 8</a:t>
            </a:r>
          </a:p>
          <a:p>
            <a:pPr lvl="8"/>
            <a:r>
              <a:rPr lang="de-DE" noProof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CB5F8BD-F61A-4905-819A-501002AE1553}" type="datetime1">
              <a:rPr lang="de-DE" noProof="0" smtClean="0"/>
              <a:t>12.09.2024</a:t>
            </a:fld>
            <a:endParaRPr lang="de-DE" noProof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EE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en-US" sz="800" b="1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D81EE41-304C-41C3-8185-350F2275D75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 userDrawn="1"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</a:p>
        </p:txBody>
      </p:sp>
      <p:pic>
        <p:nvPicPr>
          <p:cNvPr id="13" name="iee_rgb">
            <a:extLst>
              <a:ext uri="{FF2B5EF4-FFF2-40B4-BE49-F238E27FC236}">
                <a16:creationId xmlns:a16="http://schemas.microsoft.com/office/drawing/2014/main" id="{B3BEB132-5B88-41DF-BBF1-B456715AFD26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309226" y="6334126"/>
            <a:ext cx="1404000" cy="371881"/>
          </a:xfrm>
          <a:prstGeom prst="rect">
            <a:avLst/>
          </a:prstGeom>
        </p:spPr>
      </p:pic>
      <p:grpSp>
        <p:nvGrpSpPr>
          <p:cNvPr id="14" name="Gruppieren 13"/>
          <p:cNvGrpSpPr/>
          <p:nvPr userDrawn="1"/>
        </p:nvGrpSpPr>
        <p:grpSpPr>
          <a:xfrm>
            <a:off x="-604839" y="7089396"/>
            <a:ext cx="12911977" cy="1112462"/>
            <a:chOff x="-604839" y="7089396"/>
            <a:chExt cx="12911977" cy="1112462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CA5D3156-5327-486B-BAAB-A31AD391D4BA}"/>
                </a:ext>
              </a:extLst>
            </p:cNvPr>
            <p:cNvSpPr/>
            <p:nvPr userDrawn="1"/>
          </p:nvSpPr>
          <p:spPr bwMode="gray">
            <a:xfrm>
              <a:off x="3176298" y="7089396"/>
              <a:ext cx="545576" cy="5455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1DAE819-ED30-4371-9894-4B11F80454D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2596" y="7089396"/>
              <a:ext cx="545576" cy="54557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17EEE808-56B1-47D8-8BD5-1E0C98D929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117532" y="7089396"/>
              <a:ext cx="545576" cy="54557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5969A8C4-E1EA-4B1B-A009-15EF04DB9C21}"/>
                </a:ext>
              </a:extLst>
            </p:cNvPr>
            <p:cNvSpPr/>
            <p:nvPr userDrawn="1"/>
          </p:nvSpPr>
          <p:spPr bwMode="gray">
            <a:xfrm>
              <a:off x="7411362" y="7089396"/>
              <a:ext cx="545576" cy="5455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A276466-5D19-4714-9B66-55DB9AEF6FFF}"/>
                </a:ext>
              </a:extLst>
            </p:cNvPr>
            <p:cNvSpPr/>
            <p:nvPr userDrawn="1"/>
          </p:nvSpPr>
          <p:spPr bwMode="gray">
            <a:xfrm>
              <a:off x="8470128" y="7089396"/>
              <a:ext cx="545576" cy="54557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DCFCFD9-3A44-460F-AE36-31548189E9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8766" y="7089396"/>
              <a:ext cx="545576" cy="5455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DBDBAE4-C3F3-41C7-BEED-6DD12C9A542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7089396"/>
              <a:ext cx="545576" cy="5455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3428DDE3-D13E-46C6-A3A4-5536B174270E}"/>
                </a:ext>
              </a:extLst>
            </p:cNvPr>
            <p:cNvSpPr/>
            <p:nvPr userDrawn="1"/>
          </p:nvSpPr>
          <p:spPr bwMode="gray">
            <a:xfrm>
              <a:off x="4235064" y="7089396"/>
              <a:ext cx="545576" cy="545576"/>
            </a:xfrm>
            <a:prstGeom prst="rect">
              <a:avLst/>
            </a:prstGeom>
            <a:solidFill>
              <a:srgbClr val="1C3F52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1E1ED731-BD81-4EBE-A6EE-B8451AD232E6}"/>
                </a:ext>
              </a:extLst>
            </p:cNvPr>
            <p:cNvSpPr/>
            <p:nvPr userDrawn="1"/>
          </p:nvSpPr>
          <p:spPr bwMode="gray">
            <a:xfrm>
              <a:off x="5293830" y="7089396"/>
              <a:ext cx="545576" cy="545576"/>
            </a:xfrm>
            <a:prstGeom prst="rect">
              <a:avLst/>
            </a:prstGeom>
            <a:solidFill>
              <a:srgbClr val="D3C7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5E5A375-F13F-4A0E-8F43-755BB4D0E7B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646424" y="7089396"/>
              <a:ext cx="545576" cy="545576"/>
            </a:xfrm>
            <a:prstGeom prst="rect">
              <a:avLst/>
            </a:prstGeom>
            <a:solidFill>
              <a:srgbClr val="7C15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89A5387-4013-43FA-B837-DC982E70CE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87660" y="7089396"/>
              <a:ext cx="545576" cy="545576"/>
            </a:xfrm>
            <a:prstGeom prst="rect">
              <a:avLst/>
            </a:prstGeom>
            <a:solidFill>
              <a:srgbClr val="BB00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C359D98B-957F-4902-B96A-81735D1A342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28894" y="7089396"/>
              <a:ext cx="545576" cy="545576"/>
            </a:xfrm>
            <a:prstGeom prst="rect">
              <a:avLst/>
            </a:prstGeom>
            <a:solidFill>
              <a:srgbClr val="FDB9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>
                <a:solidFill>
                  <a:schemeClr val="bg1"/>
                </a:solidFill>
              </a:endParaRPr>
            </a:p>
          </p:txBody>
        </p:sp>
        <p:sp>
          <p:nvSpPr>
            <p:cNvPr id="27" name="Textfeld 26"/>
            <p:cNvSpPr txBox="1"/>
            <p:nvPr userDrawn="1"/>
          </p:nvSpPr>
          <p:spPr>
            <a:xfrm>
              <a:off x="-115139" y="7725646"/>
              <a:ext cx="775853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23 / 156 / 125</a:t>
              </a:r>
              <a:endParaRPr lang="de-DE" sz="1000"/>
            </a:p>
          </p:txBody>
        </p:sp>
        <p:sp>
          <p:nvSpPr>
            <p:cNvPr id="28" name="Textfeld 27"/>
            <p:cNvSpPr txBox="1"/>
            <p:nvPr userDrawn="1"/>
          </p:nvSpPr>
          <p:spPr>
            <a:xfrm>
              <a:off x="982099" y="7725646"/>
              <a:ext cx="634789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0 / 91 / 127</a:t>
              </a:r>
              <a:endParaRPr lang="de-DE" sz="1000"/>
            </a:p>
          </p:txBody>
        </p:sp>
        <p:sp>
          <p:nvSpPr>
            <p:cNvPr id="29" name="Textfeld 28"/>
            <p:cNvSpPr txBox="1"/>
            <p:nvPr userDrawn="1"/>
          </p:nvSpPr>
          <p:spPr>
            <a:xfrm>
              <a:off x="1938273" y="7725646"/>
              <a:ext cx="846386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166 / 187 / 200</a:t>
              </a:r>
              <a:endParaRPr lang="de-DE" sz="1000"/>
            </a:p>
          </p:txBody>
        </p:sp>
        <p:sp>
          <p:nvSpPr>
            <p:cNvPr id="30" name="Textfeld 29"/>
            <p:cNvSpPr txBox="1"/>
            <p:nvPr userDrawn="1"/>
          </p:nvSpPr>
          <p:spPr>
            <a:xfrm>
              <a:off x="3106044" y="7725646"/>
              <a:ext cx="775853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245 / 130 / 32</a:t>
              </a:r>
              <a:endParaRPr lang="de-DE" sz="1000"/>
            </a:p>
          </p:txBody>
        </p:sp>
        <p:sp>
          <p:nvSpPr>
            <p:cNvPr id="31" name="Textfeld 30"/>
            <p:cNvSpPr txBox="1"/>
            <p:nvPr userDrawn="1"/>
          </p:nvSpPr>
          <p:spPr>
            <a:xfrm>
              <a:off x="4203282" y="7725646"/>
              <a:ext cx="634789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28 / 63 / 82</a:t>
              </a:r>
              <a:endParaRPr lang="de-DE" sz="1000"/>
            </a:p>
          </p:txBody>
        </p:sp>
        <p:sp>
          <p:nvSpPr>
            <p:cNvPr id="32" name="Textfeld 31"/>
            <p:cNvSpPr txBox="1"/>
            <p:nvPr userDrawn="1"/>
          </p:nvSpPr>
          <p:spPr>
            <a:xfrm>
              <a:off x="5159456" y="7725646"/>
              <a:ext cx="846386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211 / 199 / 174</a:t>
              </a:r>
              <a:endParaRPr lang="de-DE" sz="1000"/>
            </a:p>
          </p:txBody>
        </p:sp>
        <p:sp>
          <p:nvSpPr>
            <p:cNvPr id="33" name="Textfeld 32"/>
            <p:cNvSpPr txBox="1"/>
            <p:nvPr userDrawn="1"/>
          </p:nvSpPr>
          <p:spPr>
            <a:xfrm>
              <a:off x="6327227" y="7725646"/>
              <a:ext cx="705321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0 / 133 / 152</a:t>
              </a:r>
              <a:endParaRPr lang="de-DE" sz="1000"/>
            </a:p>
          </p:txBody>
        </p:sp>
        <p:sp>
          <p:nvSpPr>
            <p:cNvPr id="35" name="Textfeld 34"/>
            <p:cNvSpPr txBox="1"/>
            <p:nvPr userDrawn="1"/>
          </p:nvSpPr>
          <p:spPr>
            <a:xfrm>
              <a:off x="7353933" y="7725646"/>
              <a:ext cx="775853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57 / 193 / 205</a:t>
              </a:r>
              <a:endParaRPr lang="de-DE" sz="1000"/>
            </a:p>
          </p:txBody>
        </p:sp>
        <p:sp>
          <p:nvSpPr>
            <p:cNvPr id="36" name="Textfeld 35"/>
            <p:cNvSpPr txBox="1"/>
            <p:nvPr userDrawn="1"/>
          </p:nvSpPr>
          <p:spPr>
            <a:xfrm>
              <a:off x="8354989" y="7725646"/>
              <a:ext cx="775853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178 / 210 / 53</a:t>
              </a:r>
              <a:endParaRPr lang="de-DE" sz="1000"/>
            </a:p>
          </p:txBody>
        </p:sp>
        <p:sp>
          <p:nvSpPr>
            <p:cNvPr id="37" name="Textfeld 36"/>
            <p:cNvSpPr txBox="1"/>
            <p:nvPr userDrawn="1"/>
          </p:nvSpPr>
          <p:spPr>
            <a:xfrm>
              <a:off x="9413755" y="7725646"/>
              <a:ext cx="775853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253 / 185 / 19</a:t>
              </a:r>
              <a:endParaRPr lang="de-DE" sz="1000"/>
            </a:p>
          </p:txBody>
        </p:sp>
        <p:sp>
          <p:nvSpPr>
            <p:cNvPr id="38" name="Textfeld 37"/>
            <p:cNvSpPr txBox="1"/>
            <p:nvPr userDrawn="1"/>
          </p:nvSpPr>
          <p:spPr>
            <a:xfrm>
              <a:off x="10543051" y="7725646"/>
              <a:ext cx="634789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187 / 0 / 86</a:t>
              </a:r>
              <a:endParaRPr lang="de-DE" sz="1000"/>
            </a:p>
          </p:txBody>
        </p:sp>
        <p:sp>
          <p:nvSpPr>
            <p:cNvPr id="39" name="Textfeld 38"/>
            <p:cNvSpPr txBox="1"/>
            <p:nvPr userDrawn="1"/>
          </p:nvSpPr>
          <p:spPr>
            <a:xfrm>
              <a:off x="11601817" y="7725646"/>
              <a:ext cx="705321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124 / 21 / 77</a:t>
              </a:r>
              <a:endParaRPr lang="de-DE" sz="1000"/>
            </a:p>
          </p:txBody>
        </p:sp>
        <p:sp>
          <p:nvSpPr>
            <p:cNvPr id="40" name="Textfeld 39"/>
            <p:cNvSpPr txBox="1"/>
            <p:nvPr userDrawn="1"/>
          </p:nvSpPr>
          <p:spPr>
            <a:xfrm>
              <a:off x="-115139" y="7976796"/>
              <a:ext cx="480901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179c7d</a:t>
              </a:r>
              <a:endParaRPr lang="de-DE" sz="1000"/>
            </a:p>
          </p:txBody>
        </p:sp>
        <p:sp>
          <p:nvSpPr>
            <p:cNvPr id="41" name="Textfeld 40"/>
            <p:cNvSpPr txBox="1"/>
            <p:nvPr userDrawn="1"/>
          </p:nvSpPr>
          <p:spPr>
            <a:xfrm>
              <a:off x="982099" y="7976796"/>
              <a:ext cx="466474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005b7f</a:t>
              </a:r>
              <a:endParaRPr lang="de-DE" sz="1000"/>
            </a:p>
          </p:txBody>
        </p:sp>
        <p:sp>
          <p:nvSpPr>
            <p:cNvPr id="43" name="Textfeld 42"/>
            <p:cNvSpPr txBox="1"/>
            <p:nvPr userDrawn="1"/>
          </p:nvSpPr>
          <p:spPr>
            <a:xfrm>
              <a:off x="1938273" y="7976796"/>
              <a:ext cx="474489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a6bbc8</a:t>
              </a:r>
              <a:endParaRPr lang="de-DE" sz="1000"/>
            </a:p>
          </p:txBody>
        </p:sp>
        <p:sp>
          <p:nvSpPr>
            <p:cNvPr id="45" name="Textfeld 44"/>
            <p:cNvSpPr txBox="1"/>
            <p:nvPr userDrawn="1"/>
          </p:nvSpPr>
          <p:spPr>
            <a:xfrm>
              <a:off x="3106044" y="7976796"/>
              <a:ext cx="466474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f58220</a:t>
              </a:r>
              <a:endParaRPr lang="de-DE" sz="1000"/>
            </a:p>
          </p:txBody>
        </p:sp>
        <p:sp>
          <p:nvSpPr>
            <p:cNvPr id="46" name="Textfeld 45"/>
            <p:cNvSpPr txBox="1"/>
            <p:nvPr userDrawn="1"/>
          </p:nvSpPr>
          <p:spPr>
            <a:xfrm>
              <a:off x="4203282" y="7976796"/>
              <a:ext cx="453650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1c3f52</a:t>
              </a:r>
              <a:endParaRPr lang="de-DE" sz="1000"/>
            </a:p>
          </p:txBody>
        </p:sp>
        <p:sp>
          <p:nvSpPr>
            <p:cNvPr id="47" name="Textfeld 46"/>
            <p:cNvSpPr txBox="1"/>
            <p:nvPr userDrawn="1"/>
          </p:nvSpPr>
          <p:spPr>
            <a:xfrm>
              <a:off x="5140659" y="7976796"/>
              <a:ext cx="468077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d3c7ae</a:t>
              </a:r>
              <a:endParaRPr lang="de-DE" sz="1000"/>
            </a:p>
          </p:txBody>
        </p:sp>
        <p:sp>
          <p:nvSpPr>
            <p:cNvPr id="48" name="Textfeld 47"/>
            <p:cNvSpPr txBox="1"/>
            <p:nvPr userDrawn="1"/>
          </p:nvSpPr>
          <p:spPr>
            <a:xfrm>
              <a:off x="6295166" y="7976796"/>
              <a:ext cx="493725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008598</a:t>
              </a:r>
              <a:endParaRPr lang="de-DE" sz="1000"/>
            </a:p>
          </p:txBody>
        </p:sp>
        <p:sp>
          <p:nvSpPr>
            <p:cNvPr id="49" name="Textfeld 48"/>
            <p:cNvSpPr txBox="1"/>
            <p:nvPr userDrawn="1"/>
          </p:nvSpPr>
          <p:spPr>
            <a:xfrm>
              <a:off x="7353932" y="7976796"/>
              <a:ext cx="468077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39c1cd</a:t>
              </a:r>
              <a:endParaRPr lang="de-DE" sz="1000"/>
            </a:p>
          </p:txBody>
        </p:sp>
        <p:sp>
          <p:nvSpPr>
            <p:cNvPr id="50" name="Textfeld 49"/>
            <p:cNvSpPr txBox="1"/>
            <p:nvPr userDrawn="1"/>
          </p:nvSpPr>
          <p:spPr>
            <a:xfrm>
              <a:off x="8354989" y="7976796"/>
              <a:ext cx="493725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b2d235</a:t>
              </a:r>
              <a:endParaRPr lang="de-DE" sz="1000"/>
            </a:p>
          </p:txBody>
        </p:sp>
        <p:sp>
          <p:nvSpPr>
            <p:cNvPr id="51" name="Textfeld 50"/>
            <p:cNvSpPr txBox="1"/>
            <p:nvPr userDrawn="1"/>
          </p:nvSpPr>
          <p:spPr>
            <a:xfrm>
              <a:off x="9413755" y="7976796"/>
              <a:ext cx="466474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fdb913</a:t>
              </a:r>
              <a:endParaRPr lang="de-DE" sz="1000"/>
            </a:p>
          </p:txBody>
        </p:sp>
        <p:sp>
          <p:nvSpPr>
            <p:cNvPr id="52" name="Textfeld 51"/>
            <p:cNvSpPr txBox="1"/>
            <p:nvPr userDrawn="1"/>
          </p:nvSpPr>
          <p:spPr>
            <a:xfrm>
              <a:off x="10543051" y="7976796"/>
              <a:ext cx="493725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bb0056</a:t>
              </a:r>
              <a:endParaRPr lang="de-DE" sz="1000"/>
            </a:p>
          </p:txBody>
        </p:sp>
        <p:sp>
          <p:nvSpPr>
            <p:cNvPr id="53" name="Textfeld 52"/>
            <p:cNvSpPr txBox="1"/>
            <p:nvPr userDrawn="1"/>
          </p:nvSpPr>
          <p:spPr>
            <a:xfrm>
              <a:off x="11598374" y="7976796"/>
              <a:ext cx="480901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0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#7c154d</a:t>
              </a:r>
              <a:endParaRPr lang="de-DE" sz="1000"/>
            </a:p>
          </p:txBody>
        </p:sp>
        <p:sp>
          <p:nvSpPr>
            <p:cNvPr id="54" name="Textfeld 53"/>
            <p:cNvSpPr txBox="1"/>
            <p:nvPr userDrawn="1"/>
          </p:nvSpPr>
          <p:spPr>
            <a:xfrm>
              <a:off x="-598035" y="7725646"/>
              <a:ext cx="272510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1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RGB:</a:t>
              </a:r>
              <a:endParaRPr lang="de-DE" sz="1000" b="1"/>
            </a:p>
          </p:txBody>
        </p:sp>
        <p:sp>
          <p:nvSpPr>
            <p:cNvPr id="55" name="Textfeld 54"/>
            <p:cNvSpPr txBox="1"/>
            <p:nvPr userDrawn="1"/>
          </p:nvSpPr>
          <p:spPr>
            <a:xfrm>
              <a:off x="-604839" y="7976796"/>
              <a:ext cx="256480" cy="22506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000" b="1" i="0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XEX:</a:t>
              </a:r>
              <a:endParaRPr lang="de-DE" sz="1000" b="1"/>
            </a:p>
          </p:txBody>
        </p:sp>
      </p:grp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79" r:id="rId21"/>
    <p:sldLayoutId id="2147483680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1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2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3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4.xml"/><Relationship Id="rId6" Type="http://schemas.openxmlformats.org/officeDocument/2006/relationships/image" Target="../media/image28.png"/><Relationship Id="rId5" Type="http://schemas.openxmlformats.org/officeDocument/2006/relationships/hyperlink" Target="https://doi.org/10.3390/en16247937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3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4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5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7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9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" b="44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4E97DF8-C1D4-4738-8989-E78F9E0E98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7401" y="2045901"/>
            <a:ext cx="8864600" cy="3695023"/>
          </a:xfrm>
        </p:spPr>
        <p:txBody>
          <a:bodyPr/>
          <a:lstStyle/>
          <a:p>
            <a:r>
              <a:rPr lang="de-DE" dirty="0"/>
              <a:t>Fraunhofer-Institut für Energiewirtschaft </a:t>
            </a:r>
            <a:br>
              <a:rPr lang="de-DE" dirty="0"/>
            </a:br>
            <a:r>
              <a:rPr lang="de-DE" dirty="0"/>
              <a:t>und Energiesystemtechnik</a:t>
            </a:r>
          </a:p>
          <a:p>
            <a:pPr lvl="1"/>
            <a:r>
              <a:rPr lang="de-DE" dirty="0"/>
              <a:t>—</a:t>
            </a:r>
          </a:p>
          <a:p>
            <a:pPr lvl="2">
              <a:spcAft>
                <a:spcPts val="1200"/>
              </a:spcAft>
            </a:pPr>
            <a:r>
              <a:rPr lang="de-DE" b="1" dirty="0"/>
              <a:t>KPI </a:t>
            </a:r>
            <a:r>
              <a:rPr lang="de-DE" b="1" dirty="0" err="1"/>
              <a:t>Extraction</a:t>
            </a:r>
            <a:r>
              <a:rPr lang="de-DE" b="1" dirty="0"/>
              <a:t> </a:t>
            </a:r>
            <a:r>
              <a:rPr lang="de-DE" b="1" dirty="0" err="1"/>
              <a:t>from</a:t>
            </a:r>
            <a:r>
              <a:rPr lang="de-DE" b="1" dirty="0"/>
              <a:t> Maintenance Work Orders</a:t>
            </a:r>
          </a:p>
          <a:p>
            <a:pPr lvl="2"/>
            <a:r>
              <a:rPr lang="de-DE" sz="2800" dirty="0"/>
              <a:t>A </a:t>
            </a:r>
            <a:r>
              <a:rPr lang="de-DE" sz="2800" dirty="0" err="1"/>
              <a:t>Comparison</a:t>
            </a:r>
            <a:r>
              <a:rPr lang="de-DE" sz="2800" dirty="0"/>
              <a:t> </a:t>
            </a:r>
            <a:r>
              <a:rPr lang="de-DE" sz="2800" dirty="0" err="1"/>
              <a:t>of</a:t>
            </a:r>
            <a:r>
              <a:rPr lang="de-DE" sz="2800" dirty="0"/>
              <a:t> </a:t>
            </a:r>
            <a:r>
              <a:rPr lang="en-US" sz="2800" dirty="0"/>
              <a:t>Expert Labeling, Text Classification and AI-Assisted Tagging for Computing Failure Rates of Wind Turbines</a:t>
            </a:r>
            <a:endParaRPr lang="de-DE" sz="2800" dirty="0"/>
          </a:p>
        </p:txBody>
      </p:sp>
      <p:pic>
        <p:nvPicPr>
          <p:cNvPr id="7" name="iee_rgb_modul">
            <a:extLst>
              <a:ext uri="{FF2B5EF4-FFF2-40B4-BE49-F238E27FC236}">
                <a16:creationId xmlns:a16="http://schemas.microsoft.com/office/drawing/2014/main" id="{D250AF56-F2AA-4E34-8A6A-A97FFFA6CF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912" y="476250"/>
            <a:ext cx="2520000" cy="917000"/>
          </a:xfrm>
          <a:prstGeom prst="rect">
            <a:avLst/>
          </a:prstGeom>
        </p:spPr>
      </p:pic>
      <p:sp>
        <p:nvSpPr>
          <p:cNvPr id="8" name="Institutsname">
            <a:extLst>
              <a:ext uri="{FF2B5EF4-FFF2-40B4-BE49-F238E27FC236}">
                <a16:creationId xmlns:a16="http://schemas.microsoft.com/office/drawing/2014/main" id="{A8C5AE93-F3E1-4763-AB73-E551251ECA1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096299" y="6633171"/>
            <a:ext cx="1593967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982663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700">
                <a:solidFill>
                  <a:schemeClr val="bg1"/>
                </a:solidFill>
              </a:rPr>
              <a:t>© Benjamin Zweig</a:t>
            </a:r>
            <a:endParaRPr lang="de-DE" sz="700" b="0">
              <a:solidFill>
                <a:schemeClr val="bg1"/>
              </a:solidFill>
            </a:endParaRPr>
          </a:p>
        </p:txBody>
      </p:sp>
      <p:pic>
        <p:nvPicPr>
          <p:cNvPr id="3" name="Grafik 2" descr="Ein Bild, das Licht, Dunkelheit, Kunst enthält.&#10;&#10;Automatisch generierte Beschreibung">
            <a:extLst>
              <a:ext uri="{FF2B5EF4-FFF2-40B4-BE49-F238E27FC236}">
                <a16:creationId xmlns:a16="http://schemas.microsoft.com/office/drawing/2014/main" id="{BD30AC00-3B29-88EA-4B6A-958EFB3964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1452" y="2172451"/>
            <a:ext cx="960490" cy="119069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00774973-FAE3-E740-413F-6CBA2AE26995}"/>
              </a:ext>
            </a:extLst>
          </p:cNvPr>
          <p:cNvSpPr txBox="1"/>
          <p:nvPr/>
        </p:nvSpPr>
        <p:spPr>
          <a:xfrm>
            <a:off x="9264650" y="2271693"/>
            <a:ext cx="243178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400" kern="1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Conference of the German </a:t>
            </a:r>
          </a:p>
          <a:p>
            <a:pPr algn="r"/>
            <a:r>
              <a:rPr lang="en-US" sz="1400" kern="1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AI Service Centers</a:t>
            </a:r>
          </a:p>
          <a:p>
            <a:pPr algn="r"/>
            <a:r>
              <a:rPr lang="de-DE" sz="1400" dirty="0">
                <a:solidFill>
                  <a:schemeClr val="bg1"/>
                </a:solidFill>
                <a:effectLst/>
                <a:latin typeface="+mj-lt"/>
                <a:cs typeface="Calibri" panose="020F0502020204030204" pitchFamily="34" charset="0"/>
              </a:rPr>
              <a:t>18.–19. Sept. 2024 </a:t>
            </a:r>
          </a:p>
          <a:p>
            <a:pPr algn="r"/>
            <a:r>
              <a:rPr lang="de-DE" sz="1400" dirty="0">
                <a:solidFill>
                  <a:schemeClr val="bg1"/>
                </a:solidFill>
                <a:effectLst/>
                <a:latin typeface="+mj-lt"/>
                <a:cs typeface="Calibri" panose="020F0502020204030204" pitchFamily="34" charset="0"/>
              </a:rPr>
              <a:t>Göttingen, Alte Mensa</a:t>
            </a:r>
          </a:p>
        </p:txBody>
      </p:sp>
    </p:spTree>
    <p:extLst>
      <p:ext uri="{BB962C8B-B14F-4D97-AF65-F5344CB8AC3E}">
        <p14:creationId xmlns:p14="http://schemas.microsoft.com/office/powerpoint/2010/main" val="3162220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7" y="1679971"/>
            <a:ext cx="4770470" cy="1113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EUS Classification</a:t>
            </a:r>
            <a:endParaRPr lang="en-US" dirty="0"/>
          </a:p>
          <a:p>
            <a:pPr lvl="3" algn="just"/>
            <a:r>
              <a:rPr lang="en-US" dirty="0"/>
              <a:t>A deeper investigation of the approach reveals that classes with </a:t>
            </a:r>
            <a:r>
              <a:rPr lang="en-US" b="1" dirty="0"/>
              <a:t>few samples still pose a challenge</a:t>
            </a:r>
          </a:p>
        </p:txBody>
      </p:sp>
      <p:pic>
        <p:nvPicPr>
          <p:cNvPr id="13" name="Grafik 12" descr="Ein Bild, das Text, Screenshot, Display, Quadrat enthält.&#10;&#10;Automatisch generierte Beschreibung">
            <a:extLst>
              <a:ext uri="{FF2B5EF4-FFF2-40B4-BE49-F238E27FC236}">
                <a16:creationId xmlns:a16="http://schemas.microsoft.com/office/drawing/2014/main" id="{91C5958B-E7FC-269B-0A65-976B2D6CCC6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587"/>
          <a:stretch/>
        </p:blipFill>
        <p:spPr>
          <a:xfrm>
            <a:off x="6942105" y="2705896"/>
            <a:ext cx="4088259" cy="334775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BE3B50D-218F-095E-D905-671155B992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428" y="3276600"/>
            <a:ext cx="6268339" cy="157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9280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44" y="395588"/>
            <a:ext cx="11233150" cy="382733"/>
          </a:xfrm>
        </p:spPr>
        <p:txBody>
          <a:bodyPr/>
          <a:lstStyle/>
          <a:p>
            <a:pPr lvl="0"/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281666" y="6455836"/>
            <a:ext cx="864000" cy="123111"/>
          </a:xfrm>
        </p:spPr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69616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83562" y="6455835"/>
            <a:ext cx="408932" cy="123112"/>
          </a:xfrm>
        </p:spPr>
        <p:txBody>
          <a:bodyPr/>
          <a:lstStyle/>
          <a:p>
            <a:fld id="{3D81EE41-304C-41C3-8185-350F2275D756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51145" y="1679971"/>
            <a:ext cx="4921249" cy="40924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PI </a:t>
            </a:r>
            <a:r>
              <a:rPr lang="de-DE" dirty="0" err="1"/>
              <a:t>Calculation</a:t>
            </a:r>
            <a:endParaRPr lang="de-DE" dirty="0"/>
          </a:p>
          <a:p>
            <a:pPr lvl="3" algn="just"/>
            <a:r>
              <a:rPr lang="en-US" b="1" dirty="0">
                <a:latin typeface="Frutiger LT Com 45 Light"/>
              </a:rPr>
              <a:t>Dataset</a:t>
            </a:r>
            <a:r>
              <a:rPr lang="en-US" dirty="0">
                <a:latin typeface="Frutiger LT Com 45 Light"/>
              </a:rPr>
              <a:t>:</a:t>
            </a:r>
          </a:p>
          <a:p>
            <a:pPr lvl="4" algn="just"/>
            <a:r>
              <a:rPr lang="en-US" dirty="0">
                <a:latin typeface="Frutiger LT Com 45 Light"/>
              </a:rPr>
              <a:t>40 wind turbines of a single wind farm</a:t>
            </a:r>
          </a:p>
          <a:p>
            <a:pPr lvl="4" algn="just"/>
            <a:r>
              <a:rPr lang="en-US" dirty="0">
                <a:latin typeface="Frutiger LT Com 45 Light"/>
              </a:rPr>
              <a:t>01/2016 – 12/2020 (4 years)</a:t>
            </a:r>
          </a:p>
          <a:p>
            <a:pPr lvl="4" algn="just"/>
            <a:r>
              <a:rPr lang="en-US" dirty="0">
                <a:latin typeface="Frutiger LT Com 45 Light"/>
              </a:rPr>
              <a:t>~4k MWOs</a:t>
            </a:r>
          </a:p>
          <a:p>
            <a:pPr lvl="4" algn="just"/>
            <a:endParaRPr lang="en-US" dirty="0">
              <a:latin typeface="Frutiger LT Com 45 Light"/>
            </a:endParaRPr>
          </a:p>
          <a:p>
            <a:pPr lvl="3" algn="just"/>
            <a:r>
              <a:rPr lang="en-US" dirty="0">
                <a:latin typeface="Frutiger LT Com 45 Light"/>
              </a:rPr>
              <a:t>We evaluate two factors for the three approaches:</a:t>
            </a:r>
          </a:p>
          <a:p>
            <a:pPr lvl="4" algn="just"/>
            <a:r>
              <a:rPr lang="en-US" b="1" dirty="0"/>
              <a:t>Accuracy</a:t>
            </a:r>
            <a:r>
              <a:rPr lang="en-US" dirty="0"/>
              <a:t> of the failure rate</a:t>
            </a:r>
          </a:p>
          <a:p>
            <a:pPr lvl="4" algn="just"/>
            <a:r>
              <a:rPr lang="en-US" b="1" dirty="0"/>
              <a:t>Manual effort </a:t>
            </a:r>
            <a:r>
              <a:rPr lang="en-US" dirty="0"/>
              <a:t>(tagging/labeling time)</a:t>
            </a:r>
          </a:p>
          <a:p>
            <a:pPr lvl="3" algn="just"/>
            <a:endParaRPr lang="en-US" dirty="0"/>
          </a:p>
          <a:p>
            <a:pPr lvl="3" algn="just"/>
            <a:r>
              <a:rPr lang="en-US" dirty="0"/>
              <a:t>Failure Rate of expert labeling is considered as ground truth for our MWO data set</a:t>
            </a:r>
          </a:p>
          <a:p>
            <a:pPr lvl="3" algn="just"/>
            <a:r>
              <a:rPr lang="en-US" dirty="0"/>
              <a:t>For reference, we display wind turbine failure rates from literature (“Strathclyde”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3A6D5F3-E459-B74E-4CE7-40959BF32477}"/>
              </a:ext>
            </a:extLst>
          </p:cNvPr>
          <p:cNvGrpSpPr/>
          <p:nvPr/>
        </p:nvGrpSpPr>
        <p:grpSpPr>
          <a:xfrm>
            <a:off x="5598637" y="2752909"/>
            <a:ext cx="5875974" cy="1352182"/>
            <a:chOff x="5598637" y="2101112"/>
            <a:chExt cx="4913383" cy="1130670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E43399DE-8BBA-A732-54E5-80B24D44DDF0}"/>
                </a:ext>
              </a:extLst>
            </p:cNvPr>
            <p:cNvGrpSpPr/>
            <p:nvPr/>
          </p:nvGrpSpPr>
          <p:grpSpPr>
            <a:xfrm>
              <a:off x="5598637" y="2101112"/>
              <a:ext cx="4894529" cy="1130670"/>
              <a:chOff x="15548166" y="33323171"/>
              <a:chExt cx="9347625" cy="2159365"/>
            </a:xfrm>
          </p:grpSpPr>
          <p:pic>
            <p:nvPicPr>
              <p:cNvPr id="8" name="Grafik 7">
                <a:extLst>
                  <a:ext uri="{FF2B5EF4-FFF2-40B4-BE49-F238E27FC236}">
                    <a16:creationId xmlns:a16="http://schemas.microsoft.com/office/drawing/2014/main" id="{711BB571-1C52-CF32-9A61-ADCE4E2BA0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548166" y="33323171"/>
                <a:ext cx="9347625" cy="2159365"/>
              </a:xfrm>
              <a:prstGeom prst="rect">
                <a:avLst/>
              </a:prstGeom>
            </p:spPr>
          </p:pic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C53A95B1-FB97-C4A6-E0DE-8C6186F021C3}"/>
                  </a:ext>
                </a:extLst>
              </p:cNvPr>
              <p:cNvSpPr/>
              <p:nvPr/>
            </p:nvSpPr>
            <p:spPr>
              <a:xfrm>
                <a:off x="24320500" y="33557152"/>
                <a:ext cx="381000" cy="2899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323B83A3-7A6C-6BF5-AE46-F35FA860CA43}"/>
                </a:ext>
              </a:extLst>
            </p:cNvPr>
            <p:cNvSpPr txBox="1"/>
            <p:nvPr/>
          </p:nvSpPr>
          <p:spPr>
            <a:xfrm>
              <a:off x="10111381" y="2151607"/>
              <a:ext cx="40063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200" b="1" dirty="0"/>
                <a:t>[1]</a:t>
              </a:r>
              <a:endParaRPr lang="de-DE" sz="1200" dirty="0"/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C1908A82-98E8-B203-17F6-E25C9A75124E}"/>
              </a:ext>
            </a:extLst>
          </p:cNvPr>
          <p:cNvSpPr txBox="1"/>
          <p:nvPr/>
        </p:nvSpPr>
        <p:spPr>
          <a:xfrm>
            <a:off x="5598637" y="5555102"/>
            <a:ext cx="67410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/>
            <a:r>
              <a:rPr lang="de-DE" sz="1200" b="1" dirty="0"/>
              <a:t>[1]	</a:t>
            </a:r>
            <a:r>
              <a:rPr lang="en-US" sz="1200" dirty="0"/>
              <a:t>Carroll, J.; McDonald, A.; McMillan, D. </a:t>
            </a:r>
            <a:r>
              <a:rPr lang="en-US" sz="1200" i="1" dirty="0"/>
              <a:t>Failure rate, repair time and unscheduled O&amp;M cost analysis of offshore wind turbines. </a:t>
            </a:r>
            <a:r>
              <a:rPr lang="en-US" sz="1200" dirty="0"/>
              <a:t>Wind Energy 2016, 19, 1107–1119.</a:t>
            </a:r>
          </a:p>
        </p:txBody>
      </p:sp>
    </p:spTree>
    <p:extLst>
      <p:ext uri="{BB962C8B-B14F-4D97-AF65-F5344CB8AC3E}">
        <p14:creationId xmlns:p14="http://schemas.microsoft.com/office/powerpoint/2010/main" val="21799578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44" y="395588"/>
            <a:ext cx="11233150" cy="382733"/>
          </a:xfrm>
        </p:spPr>
        <p:txBody>
          <a:bodyPr/>
          <a:lstStyle/>
          <a:p>
            <a:pPr lvl="0"/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281666" y="6455836"/>
            <a:ext cx="864000" cy="123111"/>
          </a:xfrm>
        </p:spPr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69616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83562" y="6455835"/>
            <a:ext cx="408932" cy="123112"/>
          </a:xfrm>
        </p:spPr>
        <p:txBody>
          <a:bodyPr/>
          <a:lstStyle/>
          <a:p>
            <a:fld id="{3D81EE41-304C-41C3-8185-350F2275D756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51145" y="1679971"/>
            <a:ext cx="4921249" cy="3009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PI </a:t>
            </a:r>
            <a:r>
              <a:rPr lang="de-DE" dirty="0" err="1"/>
              <a:t>Calculation</a:t>
            </a:r>
            <a:endParaRPr lang="de-DE" dirty="0"/>
          </a:p>
          <a:p>
            <a:pPr lvl="3" algn="just"/>
            <a:r>
              <a:rPr lang="en-US" dirty="0"/>
              <a:t>Overall, </a:t>
            </a:r>
            <a:r>
              <a:rPr lang="en-US" b="1" dirty="0"/>
              <a:t>ML</a:t>
            </a:r>
            <a:r>
              <a:rPr lang="en-US" dirty="0"/>
              <a:t> approach is </a:t>
            </a:r>
            <a:r>
              <a:rPr lang="en-US" b="1" dirty="0"/>
              <a:t>closer to the ground truth</a:t>
            </a:r>
            <a:r>
              <a:rPr lang="en-US" dirty="0"/>
              <a:t> (as well as to Strathclyde).</a:t>
            </a:r>
          </a:p>
          <a:p>
            <a:pPr lvl="3" algn="just"/>
            <a:endParaRPr lang="en-US" dirty="0"/>
          </a:p>
          <a:p>
            <a:pPr lvl="3" algn="just"/>
            <a:r>
              <a:rPr lang="en-US" b="1" dirty="0"/>
              <a:t>Nestor</a:t>
            </a:r>
            <a:r>
              <a:rPr lang="en-US" dirty="0"/>
              <a:t> </a:t>
            </a:r>
            <a:r>
              <a:rPr lang="en-US" b="1" dirty="0"/>
              <a:t>saves</a:t>
            </a:r>
            <a:r>
              <a:rPr lang="en-US" dirty="0"/>
              <a:t> considerable amount of </a:t>
            </a:r>
            <a:r>
              <a:rPr lang="en-US" b="1" dirty="0"/>
              <a:t>tagging time </a:t>
            </a:r>
            <a:r>
              <a:rPr lang="en-US" dirty="0"/>
              <a:t>(88%).</a:t>
            </a:r>
          </a:p>
          <a:p>
            <a:pPr lvl="3" algn="just"/>
            <a:endParaRPr lang="en-US" dirty="0"/>
          </a:p>
          <a:p>
            <a:pPr lvl="3" algn="just"/>
            <a:r>
              <a:rPr lang="en-US" b="1" dirty="0">
                <a:latin typeface="Frutiger LT Com 45 Light"/>
              </a:rPr>
              <a:t>Trade-off between tagging time and accuracy </a:t>
            </a:r>
            <a:r>
              <a:rPr lang="en-US" dirty="0">
                <a:latin typeface="Frutiger LT Com 45 Light"/>
              </a:rPr>
              <a:t>of KPI calculation for the investigated methods and data set</a:t>
            </a:r>
          </a:p>
          <a:p>
            <a:pPr marL="0" lvl="3" indent="0" algn="just">
              <a:buNone/>
            </a:pPr>
            <a:endParaRPr lang="en-US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660CAE3-B5DA-9FD3-7C3C-C693513933AA}"/>
              </a:ext>
            </a:extLst>
          </p:cNvPr>
          <p:cNvGrpSpPr/>
          <p:nvPr/>
        </p:nvGrpSpPr>
        <p:grpSpPr>
          <a:xfrm>
            <a:off x="5598637" y="2752909"/>
            <a:ext cx="5875974" cy="1352182"/>
            <a:chOff x="5598637" y="2101112"/>
            <a:chExt cx="4913383" cy="113067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90EA701F-712F-5752-A4D4-2A5D2699FC38}"/>
                </a:ext>
              </a:extLst>
            </p:cNvPr>
            <p:cNvGrpSpPr/>
            <p:nvPr/>
          </p:nvGrpSpPr>
          <p:grpSpPr>
            <a:xfrm>
              <a:off x="5598637" y="2101112"/>
              <a:ext cx="4894529" cy="1130670"/>
              <a:chOff x="15548166" y="33323171"/>
              <a:chExt cx="9347625" cy="2159365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997CB70D-185E-D2CD-4DC9-2018722A38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548166" y="33323171"/>
                <a:ext cx="9347625" cy="2159365"/>
              </a:xfrm>
              <a:prstGeom prst="rect">
                <a:avLst/>
              </a:prstGeom>
            </p:spPr>
          </p:pic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99451393-C907-09AE-0F63-778A8AD4135F}"/>
                  </a:ext>
                </a:extLst>
              </p:cNvPr>
              <p:cNvSpPr/>
              <p:nvPr/>
            </p:nvSpPr>
            <p:spPr>
              <a:xfrm>
                <a:off x="24320500" y="33557152"/>
                <a:ext cx="381000" cy="2899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2C834A02-BD5B-80A4-6B12-C20702B394BC}"/>
                </a:ext>
              </a:extLst>
            </p:cNvPr>
            <p:cNvSpPr txBox="1"/>
            <p:nvPr/>
          </p:nvSpPr>
          <p:spPr>
            <a:xfrm>
              <a:off x="10111381" y="2151607"/>
              <a:ext cx="40063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200" b="1" dirty="0"/>
                <a:t>[1]</a:t>
              </a:r>
              <a:endParaRPr lang="de-DE" sz="1200" dirty="0"/>
            </a:p>
          </p:txBody>
        </p:sp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C9A54C60-6E06-1DE8-7B15-3A3951A253A7}"/>
              </a:ext>
            </a:extLst>
          </p:cNvPr>
          <p:cNvSpPr txBox="1"/>
          <p:nvPr/>
        </p:nvSpPr>
        <p:spPr>
          <a:xfrm>
            <a:off x="5598637" y="5555102"/>
            <a:ext cx="67410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/>
            <a:r>
              <a:rPr lang="de-DE" sz="1200" b="1" dirty="0"/>
              <a:t>[1]	</a:t>
            </a:r>
            <a:r>
              <a:rPr lang="en-US" sz="1200" dirty="0"/>
              <a:t>Carroll, J.; McDonald, A.; McMillan, D. </a:t>
            </a:r>
            <a:r>
              <a:rPr lang="en-US" sz="1200" i="1" dirty="0"/>
              <a:t>Failure rate, repair time and unscheduled O&amp;M cost analysis of offshore wind turbines. </a:t>
            </a:r>
            <a:r>
              <a:rPr lang="en-US" sz="1200" dirty="0"/>
              <a:t>Wind Energy 2016, 19, 1107–1119.</a:t>
            </a:r>
          </a:p>
        </p:txBody>
      </p:sp>
    </p:spTree>
    <p:extLst>
      <p:ext uri="{BB962C8B-B14F-4D97-AF65-F5344CB8AC3E}">
        <p14:creationId xmlns:p14="http://schemas.microsoft.com/office/powerpoint/2010/main" val="1891787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44" y="395588"/>
            <a:ext cx="11233150" cy="382733"/>
          </a:xfrm>
        </p:spPr>
        <p:txBody>
          <a:bodyPr/>
          <a:lstStyle/>
          <a:p>
            <a:pPr lvl="0"/>
            <a:r>
              <a:rPr lang="de-DE" dirty="0" err="1"/>
              <a:t>Conclusion</a:t>
            </a:r>
            <a:r>
              <a:rPr lang="de-DE" dirty="0"/>
              <a:t> &amp; Outloo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281666" y="6455836"/>
            <a:ext cx="864000" cy="123111"/>
          </a:xfrm>
        </p:spPr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69616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83562" y="6455835"/>
            <a:ext cx="408932" cy="123112"/>
          </a:xfrm>
        </p:spPr>
        <p:txBody>
          <a:bodyPr/>
          <a:lstStyle/>
          <a:p>
            <a:fld id="{3D81EE41-304C-41C3-8185-350F2275D756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51145" y="1679971"/>
            <a:ext cx="4921249" cy="43632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in </a:t>
            </a:r>
            <a:r>
              <a:rPr lang="de-DE" dirty="0" err="1"/>
              <a:t>Results</a:t>
            </a:r>
            <a:endParaRPr lang="de-DE" dirty="0"/>
          </a:p>
          <a:p>
            <a:pPr lvl="3" algn="just"/>
            <a:r>
              <a:rPr lang="en-US" b="1" dirty="0">
                <a:latin typeface="Frutiger LT Com 45 Light"/>
              </a:rPr>
              <a:t>Trade-off between tagging time and accuracy </a:t>
            </a:r>
            <a:r>
              <a:rPr lang="en-US" dirty="0">
                <a:latin typeface="Frutiger LT Com 45 Light"/>
              </a:rPr>
              <a:t>of KPI calculation for the investigated methods and data set</a:t>
            </a:r>
          </a:p>
          <a:p>
            <a:pPr lvl="3" algn="just"/>
            <a:endParaRPr lang="en-US" dirty="0">
              <a:latin typeface="Frutiger LT Com 45 Light"/>
            </a:endParaRPr>
          </a:p>
          <a:p>
            <a:pPr lvl="3" algn="just"/>
            <a:r>
              <a:rPr lang="en-US" dirty="0">
                <a:latin typeface="Frutiger LT Com 45 Light"/>
              </a:rPr>
              <a:t>Further investigations using </a:t>
            </a:r>
            <a:r>
              <a:rPr lang="en-US" b="1" dirty="0">
                <a:latin typeface="Frutiger LT Com 45 Light"/>
              </a:rPr>
              <a:t>Large Language Models </a:t>
            </a:r>
            <a:r>
              <a:rPr lang="en-US" dirty="0">
                <a:latin typeface="Frutiger LT Com 45 Light"/>
              </a:rPr>
              <a:t>might be promising in increasing accuracy further</a:t>
            </a:r>
          </a:p>
          <a:p>
            <a:pPr lvl="3" algn="just"/>
            <a:endParaRPr lang="en-US" dirty="0">
              <a:latin typeface="Frutiger LT Com 45 Light"/>
            </a:endParaRPr>
          </a:p>
          <a:p>
            <a:pPr lvl="3" algn="just"/>
            <a:r>
              <a:rPr lang="en-US" dirty="0">
                <a:latin typeface="Frutiger LT Com 45 Light"/>
              </a:rPr>
              <a:t>May also enable applications in maintenance beyond KPI calculation (e.g., assistance for maintenance personnel)</a:t>
            </a:r>
          </a:p>
          <a:p>
            <a:pPr lvl="3" algn="just"/>
            <a:endParaRPr lang="en-US" dirty="0">
              <a:latin typeface="Frutiger LT Com 45 Light"/>
            </a:endParaRPr>
          </a:p>
          <a:p>
            <a:pPr lvl="3" algn="just"/>
            <a:r>
              <a:rPr lang="en-US" dirty="0"/>
              <a:t>Overall, our findings make extracting information from maintenance work orders </a:t>
            </a:r>
            <a:r>
              <a:rPr lang="en-US" b="1" dirty="0"/>
              <a:t>more efficient</a:t>
            </a:r>
            <a:r>
              <a:rPr lang="en-US" dirty="0"/>
              <a:t>, enable the </a:t>
            </a:r>
            <a:r>
              <a:rPr lang="en-US" b="1" dirty="0"/>
              <a:t>assessment of reliability KPIs </a:t>
            </a:r>
            <a:r>
              <a:rPr lang="en-US" dirty="0"/>
              <a:t>and support optimization of wind </a:t>
            </a:r>
            <a:r>
              <a:rPr lang="en-US"/>
              <a:t>turbine maintenance</a:t>
            </a:r>
            <a:r>
              <a:rPr lang="en-US" dirty="0"/>
              <a:t>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C0D215B-B7D9-FE8E-7094-18287B3BA030}"/>
              </a:ext>
            </a:extLst>
          </p:cNvPr>
          <p:cNvSpPr txBox="1"/>
          <p:nvPr/>
        </p:nvSpPr>
        <p:spPr>
          <a:xfrm>
            <a:off x="5598637" y="5555102"/>
            <a:ext cx="67410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/>
            <a:r>
              <a:rPr lang="de-DE" sz="1200" b="1" dirty="0"/>
              <a:t>[1]	</a:t>
            </a:r>
            <a:r>
              <a:rPr lang="en-US" sz="1200" dirty="0"/>
              <a:t>Carroll, J.; McDonald, A.; McMillan, D. </a:t>
            </a:r>
            <a:r>
              <a:rPr lang="en-US" sz="1200" i="1" dirty="0"/>
              <a:t>Failure rate, repair time and unscheduled O&amp;M cost analysis of offshore wind turbines. </a:t>
            </a:r>
            <a:r>
              <a:rPr lang="en-US" sz="1200" dirty="0"/>
              <a:t>Wind Energy 2016, 19, 1107–1119.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660CAE3-B5DA-9FD3-7C3C-C693513933AA}"/>
              </a:ext>
            </a:extLst>
          </p:cNvPr>
          <p:cNvGrpSpPr/>
          <p:nvPr/>
        </p:nvGrpSpPr>
        <p:grpSpPr>
          <a:xfrm>
            <a:off x="5598637" y="2752909"/>
            <a:ext cx="5875974" cy="1352182"/>
            <a:chOff x="5598637" y="2101112"/>
            <a:chExt cx="4913383" cy="1130670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90EA701F-712F-5752-A4D4-2A5D2699FC38}"/>
                </a:ext>
              </a:extLst>
            </p:cNvPr>
            <p:cNvGrpSpPr/>
            <p:nvPr/>
          </p:nvGrpSpPr>
          <p:grpSpPr>
            <a:xfrm>
              <a:off x="5598637" y="2101112"/>
              <a:ext cx="4894529" cy="1130670"/>
              <a:chOff x="15548166" y="33323171"/>
              <a:chExt cx="9347625" cy="2159365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997CB70D-185E-D2CD-4DC9-2018722A38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548166" y="33323171"/>
                <a:ext cx="9347625" cy="2159365"/>
              </a:xfrm>
              <a:prstGeom prst="rect">
                <a:avLst/>
              </a:prstGeom>
            </p:spPr>
          </p:pic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99451393-C907-09AE-0F63-778A8AD4135F}"/>
                  </a:ext>
                </a:extLst>
              </p:cNvPr>
              <p:cNvSpPr/>
              <p:nvPr/>
            </p:nvSpPr>
            <p:spPr>
              <a:xfrm>
                <a:off x="24320500" y="33557152"/>
                <a:ext cx="381000" cy="2899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2C834A02-BD5B-80A4-6B12-C20702B394BC}"/>
                </a:ext>
              </a:extLst>
            </p:cNvPr>
            <p:cNvSpPr txBox="1"/>
            <p:nvPr/>
          </p:nvSpPr>
          <p:spPr>
            <a:xfrm>
              <a:off x="10111381" y="2151607"/>
              <a:ext cx="40063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200" b="1" dirty="0"/>
                <a:t>[1]</a:t>
              </a:r>
              <a:endParaRPr lang="de-DE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931625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144" y="395588"/>
            <a:ext cx="11233150" cy="382733"/>
          </a:xfrm>
        </p:spPr>
        <p:txBody>
          <a:bodyPr/>
          <a:lstStyle/>
          <a:p>
            <a:pPr lvl="0"/>
            <a:r>
              <a:rPr lang="de-DE" dirty="0"/>
              <a:t>Questions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281666" y="6455836"/>
            <a:ext cx="864000" cy="123111"/>
          </a:xfrm>
        </p:spPr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69616" y="6455836"/>
            <a:ext cx="2952000" cy="123111"/>
          </a:xfrm>
        </p:spPr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683562" y="6455835"/>
            <a:ext cx="408932" cy="123112"/>
          </a:xfrm>
        </p:spPr>
        <p:txBody>
          <a:bodyPr/>
          <a:lstStyle/>
          <a:p>
            <a:fld id="{3D81EE41-304C-41C3-8185-350F2275D756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51145" y="1679971"/>
            <a:ext cx="7067255" cy="19256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ead </a:t>
            </a:r>
            <a:r>
              <a:rPr lang="de-DE" dirty="0" err="1"/>
              <a:t>Our</a:t>
            </a:r>
            <a:r>
              <a:rPr lang="de-DE" dirty="0"/>
              <a:t> Paper (+ </a:t>
            </a:r>
            <a:r>
              <a:rPr lang="de-DE" dirty="0" err="1"/>
              <a:t>Cite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)</a:t>
            </a:r>
            <a:endParaRPr lang="en-US" dirty="0">
              <a:latin typeface="Frutiger LT Com 45 Light"/>
            </a:endParaRPr>
          </a:p>
          <a:p>
            <a:pPr lvl="3" algn="just"/>
            <a:r>
              <a:rPr lang="de-DE" dirty="0"/>
              <a:t>Lutz, Marc-Alexander, Bastian Schäfermeier, Rachael Sexton, Michael Sharp, Alden Dima, Stefan Faulstich, and Jagan Mohini Aluri. 2023. </a:t>
            </a:r>
            <a:r>
              <a:rPr lang="de-DE" i="1" dirty="0"/>
              <a:t>"KPI </a:t>
            </a:r>
            <a:r>
              <a:rPr lang="de-DE" i="1" dirty="0" err="1"/>
              <a:t>Extraction</a:t>
            </a:r>
            <a:r>
              <a:rPr lang="de-DE" i="1" dirty="0"/>
              <a:t> </a:t>
            </a:r>
            <a:r>
              <a:rPr lang="de-DE" i="1" dirty="0" err="1"/>
              <a:t>from</a:t>
            </a:r>
            <a:r>
              <a:rPr lang="de-DE" i="1" dirty="0"/>
              <a:t> Maintenance Work Orders—A </a:t>
            </a:r>
            <a:r>
              <a:rPr lang="de-DE" i="1" dirty="0" err="1"/>
              <a:t>Comparison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Expert </a:t>
            </a:r>
            <a:r>
              <a:rPr lang="de-DE" i="1" dirty="0" err="1"/>
              <a:t>Labeling</a:t>
            </a:r>
            <a:r>
              <a:rPr lang="de-DE" i="1" dirty="0"/>
              <a:t>, Text Classification and AI-</a:t>
            </a:r>
            <a:r>
              <a:rPr lang="de-DE" i="1" dirty="0" err="1"/>
              <a:t>Assisted</a:t>
            </a:r>
            <a:r>
              <a:rPr lang="de-DE" i="1" dirty="0"/>
              <a:t> Tagging </a:t>
            </a:r>
            <a:r>
              <a:rPr lang="de-DE" i="1" dirty="0" err="1"/>
              <a:t>for</a:t>
            </a:r>
            <a:r>
              <a:rPr lang="de-DE" i="1" dirty="0"/>
              <a:t> Computing </a:t>
            </a:r>
            <a:r>
              <a:rPr lang="de-DE" i="1" dirty="0" err="1"/>
              <a:t>Failure</a:t>
            </a:r>
            <a:r>
              <a:rPr lang="de-DE" i="1" dirty="0"/>
              <a:t> Rates </a:t>
            </a:r>
            <a:r>
              <a:rPr lang="de-DE" i="1" dirty="0" err="1"/>
              <a:t>of</a:t>
            </a:r>
            <a:r>
              <a:rPr lang="de-DE" i="1" dirty="0"/>
              <a:t> Wind </a:t>
            </a:r>
            <a:r>
              <a:rPr lang="de-DE" i="1" dirty="0" err="1"/>
              <a:t>Turbines</a:t>
            </a:r>
            <a:r>
              <a:rPr lang="de-DE" i="1" dirty="0"/>
              <a:t>"</a:t>
            </a:r>
            <a:r>
              <a:rPr lang="de-DE" dirty="0"/>
              <a:t> </a:t>
            </a:r>
            <a:r>
              <a:rPr lang="de-DE" i="1" dirty="0"/>
              <a:t>Energies</a:t>
            </a:r>
            <a:r>
              <a:rPr lang="de-DE" dirty="0"/>
              <a:t> 16, </a:t>
            </a:r>
            <a:r>
              <a:rPr lang="de-DE" dirty="0" err="1"/>
              <a:t>no</a:t>
            </a:r>
            <a:r>
              <a:rPr lang="de-DE" dirty="0"/>
              <a:t>. 24: 7937. </a:t>
            </a:r>
            <a:r>
              <a:rPr lang="de-DE" dirty="0">
                <a:hlinkClick r:id="rId5"/>
              </a:rPr>
              <a:t>https://doi.org/10.3390/en16247937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1FA9C86-B3E8-D471-6076-3B378C4801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5158" y="3751642"/>
            <a:ext cx="2133167" cy="221637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8A7536A0-21FF-48CA-2C5E-3C3A1683F9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05464" y="1498113"/>
            <a:ext cx="3053086" cy="435707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9315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otiv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6" y="1679971"/>
            <a:ext cx="7534274" cy="27628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otivation</a:t>
            </a:r>
          </a:p>
          <a:p>
            <a:pPr lvl="3" algn="just">
              <a:lnSpc>
                <a:spcPct val="150000"/>
              </a:lnSpc>
            </a:pPr>
            <a:r>
              <a:rPr lang="en-US" b="1" dirty="0"/>
              <a:t>Maintenance work orders </a:t>
            </a:r>
            <a:r>
              <a:rPr lang="en-US" dirty="0"/>
              <a:t>(MWOs) are used to document information about wind turbine operation and maintenance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Include details about proactive and reactive wind turbine downtimes (e.g., </a:t>
            </a:r>
            <a:r>
              <a:rPr lang="en-US" b="1" dirty="0"/>
              <a:t>preventative</a:t>
            </a:r>
            <a:r>
              <a:rPr lang="en-US" dirty="0"/>
              <a:t> and </a:t>
            </a:r>
            <a:r>
              <a:rPr lang="en-US" b="1" dirty="0"/>
              <a:t>corrective</a:t>
            </a:r>
            <a:r>
              <a:rPr lang="en-US" dirty="0"/>
              <a:t> maintenance). 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We want to explore and compare approaches to </a:t>
            </a:r>
            <a:r>
              <a:rPr lang="en-US" b="1" dirty="0"/>
              <a:t>calculate reliability key performance indicators</a:t>
            </a:r>
            <a:r>
              <a:rPr lang="en-US" dirty="0"/>
              <a:t> (KPI) from MWOs</a:t>
            </a:r>
          </a:p>
        </p:txBody>
      </p:sp>
      <p:pic>
        <p:nvPicPr>
          <p:cNvPr id="13" name="Grafik 12" descr="Ein Bild, das Himmel, draußen, Windmühle, Baustelle enthält.&#10;&#10;Automatisch generierte Beschreibung">
            <a:extLst>
              <a:ext uri="{FF2B5EF4-FFF2-40B4-BE49-F238E27FC236}">
                <a16:creationId xmlns:a16="http://schemas.microsoft.com/office/drawing/2014/main" id="{3340C00F-927E-BA1C-0667-E709D71CFE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2265" y="2209365"/>
            <a:ext cx="3149600" cy="3149600"/>
          </a:xfrm>
          <a:prstGeom prst="rect">
            <a:avLst/>
          </a:prstGeom>
        </p:spPr>
      </p:pic>
      <p:pic>
        <p:nvPicPr>
          <p:cNvPr id="8" name="Grafik 7" descr="Dokument mit einfarbiger Füllung">
            <a:extLst>
              <a:ext uri="{FF2B5EF4-FFF2-40B4-BE49-F238E27FC236}">
                <a16:creationId xmlns:a16="http://schemas.microsoft.com/office/drawing/2014/main" id="{4AEF89D0-4853-A605-B614-1898C31B34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86451" y="4972624"/>
            <a:ext cx="751708" cy="751708"/>
          </a:xfrm>
          <a:prstGeom prst="rect">
            <a:avLst/>
          </a:prstGeom>
        </p:spPr>
      </p:pic>
      <p:pic>
        <p:nvPicPr>
          <p:cNvPr id="10" name="Grafik 9" descr="Dokument mit einfarbiger Füllung">
            <a:extLst>
              <a:ext uri="{FF2B5EF4-FFF2-40B4-BE49-F238E27FC236}">
                <a16:creationId xmlns:a16="http://schemas.microsoft.com/office/drawing/2014/main" id="{851DB79D-8C4B-9C08-6C44-9A464A03D4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24997" y="4517854"/>
            <a:ext cx="751708" cy="751708"/>
          </a:xfrm>
          <a:prstGeom prst="rect">
            <a:avLst/>
          </a:prstGeom>
        </p:spPr>
      </p:pic>
      <p:pic>
        <p:nvPicPr>
          <p:cNvPr id="11" name="Grafik 10" descr="Dokument mit einfarbiger Füllung">
            <a:extLst>
              <a:ext uri="{FF2B5EF4-FFF2-40B4-BE49-F238E27FC236}">
                <a16:creationId xmlns:a16="http://schemas.microsoft.com/office/drawing/2014/main" id="{289F71DB-29EC-42B2-BA8F-E94BB56F7F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74166" y="5269010"/>
            <a:ext cx="751708" cy="751708"/>
          </a:xfrm>
          <a:prstGeom prst="rect">
            <a:avLst/>
          </a:prstGeom>
        </p:spPr>
      </p:pic>
      <p:pic>
        <p:nvPicPr>
          <p:cNvPr id="14" name="Grafik 13" descr="Windkraftanlagen mit einfarbiger Füllung">
            <a:extLst>
              <a:ext uri="{FF2B5EF4-FFF2-40B4-BE49-F238E27FC236}">
                <a16:creationId xmlns:a16="http://schemas.microsoft.com/office/drawing/2014/main" id="{F9A1868A-E23B-0391-446E-F80ABFC6A1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28813" y="5174283"/>
            <a:ext cx="914400" cy="914400"/>
          </a:xfrm>
          <a:prstGeom prst="rect">
            <a:avLst/>
          </a:prstGeom>
        </p:spPr>
      </p:pic>
      <p:pic>
        <p:nvPicPr>
          <p:cNvPr id="16" name="Grafik 15" descr="Statistiken Silhouette">
            <a:extLst>
              <a:ext uri="{FF2B5EF4-FFF2-40B4-BE49-F238E27FC236}">
                <a16:creationId xmlns:a16="http://schemas.microsoft.com/office/drawing/2014/main" id="{DAE0953D-FE5E-5F17-C187-4BB4A251627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306934" y="4811810"/>
            <a:ext cx="914400" cy="914400"/>
          </a:xfrm>
          <a:prstGeom prst="rect">
            <a:avLst/>
          </a:prstGeom>
        </p:spPr>
      </p:pic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B8F4F170-7D07-97AF-C190-5CB3F35FBF81}"/>
              </a:ext>
            </a:extLst>
          </p:cNvPr>
          <p:cNvSpPr/>
          <p:nvPr/>
        </p:nvSpPr>
        <p:spPr>
          <a:xfrm>
            <a:off x="4193126" y="5046760"/>
            <a:ext cx="897387" cy="444500"/>
          </a:xfrm>
          <a:prstGeom prst="rightArrow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747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otiv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6" y="1679971"/>
            <a:ext cx="9782174" cy="20241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hallenges &amp; </a:t>
            </a:r>
            <a:r>
              <a:rPr lang="de-DE" dirty="0" err="1"/>
              <a:t>Example</a:t>
            </a:r>
            <a:r>
              <a:rPr lang="de-DE" dirty="0"/>
              <a:t> Data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Decision-makers wish to use MWO information for </a:t>
            </a:r>
            <a:r>
              <a:rPr lang="en-US" b="1" dirty="0"/>
              <a:t>optimizing operation and maintenance</a:t>
            </a:r>
            <a:endParaRPr lang="en-US" dirty="0"/>
          </a:p>
          <a:p>
            <a:pPr lvl="3" algn="just">
              <a:lnSpc>
                <a:spcPct val="150000"/>
              </a:lnSpc>
            </a:pPr>
            <a:r>
              <a:rPr lang="en-US" dirty="0"/>
              <a:t>However, maintenance reports and their descriptions are often </a:t>
            </a:r>
            <a:r>
              <a:rPr lang="en-US" b="1" dirty="0"/>
              <a:t>not well structured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Hence, large amounts of MWO data, although being existent, remain unused for this task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For this work, we assume reports have been digitalized and prepared as depicted below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141CAAF5-782B-7889-0967-16EFE19F6B2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186"/>
          <a:stretch/>
        </p:blipFill>
        <p:spPr>
          <a:xfrm>
            <a:off x="2690059" y="3865002"/>
            <a:ext cx="6811882" cy="206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105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etho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7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6" y="1679971"/>
            <a:ext cx="5054599" cy="31321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EUS</a:t>
            </a:r>
          </a:p>
          <a:p>
            <a:pPr lvl="3" algn="just">
              <a:lnSpc>
                <a:spcPct val="150000"/>
              </a:lnSpc>
            </a:pPr>
            <a:r>
              <a:rPr lang="en-US" dirty="0"/>
              <a:t>We use the </a:t>
            </a:r>
            <a:r>
              <a:rPr lang="en-US" b="1" dirty="0"/>
              <a:t>ZEUS</a:t>
            </a:r>
            <a:r>
              <a:rPr lang="en-US" dirty="0"/>
              <a:t> classification system for maintenance types (“</a:t>
            </a:r>
            <a:r>
              <a:rPr lang="en-US" dirty="0" err="1"/>
              <a:t>Zustand-Ereignis-Ursachen-Schlüssel</a:t>
            </a:r>
            <a:r>
              <a:rPr lang="en-US" dirty="0"/>
              <a:t>”)</a:t>
            </a:r>
          </a:p>
          <a:p>
            <a:pPr lvl="3" algn="just">
              <a:lnSpc>
                <a:spcPct val="150000"/>
              </a:lnSpc>
            </a:pPr>
            <a:endParaRPr lang="en-US" dirty="0"/>
          </a:p>
          <a:p>
            <a:pPr lvl="3" algn="just">
              <a:lnSpc>
                <a:spcPct val="150000"/>
              </a:lnSpc>
            </a:pPr>
            <a:r>
              <a:rPr lang="en-US" dirty="0"/>
              <a:t>MWOs are </a:t>
            </a:r>
            <a:r>
              <a:rPr lang="en-US" b="1" dirty="0"/>
              <a:t>labeled manually by experts</a:t>
            </a:r>
            <a:endParaRPr lang="en-US" dirty="0"/>
          </a:p>
          <a:p>
            <a:pPr lvl="3" algn="just">
              <a:lnSpc>
                <a:spcPct val="150000"/>
              </a:lnSpc>
            </a:pPr>
            <a:endParaRPr lang="en-US" dirty="0"/>
          </a:p>
          <a:p>
            <a:pPr lvl="3" algn="just">
              <a:lnSpc>
                <a:spcPct val="150000"/>
              </a:lnSpc>
            </a:pPr>
            <a:r>
              <a:rPr lang="en-US" dirty="0"/>
              <a:t>Labels are also used as </a:t>
            </a:r>
            <a:r>
              <a:rPr lang="en-US" b="1" dirty="0"/>
              <a:t>ground truth </a:t>
            </a:r>
            <a:r>
              <a:rPr lang="en-US" dirty="0"/>
              <a:t>for training and evaluation of the machine learning approach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5230C4C-3DD1-E70B-9EFD-164D13003C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9168" y="2348470"/>
            <a:ext cx="6068032" cy="2463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160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etho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6" y="1679971"/>
            <a:ext cx="3781489" cy="35507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Overview</a:t>
            </a:r>
            <a:endParaRPr lang="de-DE" dirty="0"/>
          </a:p>
          <a:p>
            <a:pPr marL="0" lvl="3" indent="0" algn="just">
              <a:buNone/>
            </a:pPr>
            <a:r>
              <a:rPr lang="en-US" dirty="0"/>
              <a:t>We compares three different approaches to calculate reliability key performance indicators (KPI) from maintenance work orders:</a:t>
            </a:r>
          </a:p>
          <a:p>
            <a:pPr marL="514350" lvl="3" indent="-514350" algn="just">
              <a:buAutoNum type="arabicPeriod"/>
            </a:pPr>
            <a:endParaRPr lang="en-US" b="1" dirty="0"/>
          </a:p>
          <a:p>
            <a:pPr marL="514350" lvl="3" indent="-514350" algn="just">
              <a:buAutoNum type="arabicPeriod"/>
            </a:pPr>
            <a:r>
              <a:rPr lang="en-US" b="1" dirty="0"/>
              <a:t>Manual labeling </a:t>
            </a:r>
            <a:r>
              <a:rPr lang="en-US" dirty="0"/>
              <a:t>by domain experts</a:t>
            </a:r>
          </a:p>
          <a:p>
            <a:pPr marL="514350" lvl="3" indent="-514350" algn="just">
              <a:buAutoNum type="arabicPeriod"/>
            </a:pPr>
            <a:r>
              <a:rPr lang="en-US" b="1" dirty="0"/>
              <a:t>Machine-Learning</a:t>
            </a:r>
            <a:r>
              <a:rPr lang="en-US" dirty="0"/>
              <a:t>-based classification (logistic regression, naïve Bayes)</a:t>
            </a:r>
          </a:p>
          <a:p>
            <a:pPr marL="514350" lvl="3" indent="-514350" algn="just">
              <a:buAutoNum type="arabicPeriod"/>
            </a:pPr>
            <a:r>
              <a:rPr lang="en-US" b="1" dirty="0"/>
              <a:t>AI-assisted tagging</a:t>
            </a:r>
            <a:r>
              <a:rPr lang="en-US" dirty="0"/>
              <a:t> using the tool “Nestor”</a:t>
            </a:r>
            <a:endParaRPr lang="de-DE" dirty="0"/>
          </a:p>
        </p:txBody>
      </p:sp>
      <p:pic>
        <p:nvPicPr>
          <p:cNvPr id="2" name="Grafik 1" descr="Ein Bild, das Text, Screenshot, Schrift, Grafikdesign enthält.&#10;&#10;Automatisch generierte Beschreibung">
            <a:extLst>
              <a:ext uri="{FF2B5EF4-FFF2-40B4-BE49-F238E27FC236}">
                <a16:creationId xmlns:a16="http://schemas.microsoft.com/office/drawing/2014/main" id="{71D09807-4FA3-774C-3CB5-5117037A2B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6775" y="1141395"/>
            <a:ext cx="7134225" cy="457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303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etho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6" y="1679971"/>
            <a:ext cx="11233149" cy="30090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I-</a:t>
            </a:r>
            <a:r>
              <a:rPr lang="de-DE" dirty="0" err="1"/>
              <a:t>Assisted</a:t>
            </a:r>
            <a:r>
              <a:rPr lang="de-DE" dirty="0"/>
              <a:t> Tagging </a:t>
            </a:r>
            <a:r>
              <a:rPr lang="de-DE" dirty="0" err="1"/>
              <a:t>through</a:t>
            </a:r>
            <a:r>
              <a:rPr lang="de-DE" dirty="0"/>
              <a:t> Nestor</a:t>
            </a:r>
          </a:p>
          <a:p>
            <a:pPr lvl="3" algn="just"/>
            <a:r>
              <a:rPr lang="en-US" dirty="0"/>
              <a:t>AI-assisted tagging with Nestor derives labels through a </a:t>
            </a:r>
            <a:r>
              <a:rPr lang="en-US" b="1" dirty="0"/>
              <a:t>human-in-the-loop process</a:t>
            </a:r>
            <a:r>
              <a:rPr lang="en-US" dirty="0"/>
              <a:t>, in which terms from maintenance work orders are tagged with and mapped to a common </a:t>
            </a:r>
            <a:r>
              <a:rPr lang="en-US" b="1" dirty="0"/>
              <a:t>alias term</a:t>
            </a:r>
            <a:r>
              <a:rPr lang="en-US" dirty="0"/>
              <a:t>.</a:t>
            </a:r>
          </a:p>
          <a:p>
            <a:pPr lvl="4" algn="just"/>
            <a:r>
              <a:rPr lang="en-US" dirty="0"/>
              <a:t>E.g., “error”, “failure”, “fault” -&gt; “failure”</a:t>
            </a:r>
          </a:p>
          <a:p>
            <a:pPr lvl="4" algn="just"/>
            <a:endParaRPr lang="en-US" dirty="0"/>
          </a:p>
          <a:p>
            <a:pPr lvl="3" algn="just"/>
            <a:r>
              <a:rPr lang="en-US" dirty="0"/>
              <a:t>Additionally, </a:t>
            </a:r>
            <a:r>
              <a:rPr lang="en-US" b="1" dirty="0"/>
              <a:t>one of five entities</a:t>
            </a:r>
            <a:r>
              <a:rPr lang="en-US" dirty="0"/>
              <a:t> can be assigned to terms:</a:t>
            </a:r>
          </a:p>
          <a:p>
            <a:pPr lvl="4" algn="just"/>
            <a:r>
              <a:rPr lang="en-US" dirty="0"/>
              <a:t>“Problem”, “Solution”, “Item”, “Ambiguous”, “Irrelevant”</a:t>
            </a:r>
          </a:p>
          <a:p>
            <a:pPr lvl="4" algn="just"/>
            <a:endParaRPr lang="en-US" dirty="0"/>
          </a:p>
          <a:p>
            <a:pPr lvl="3" algn="just"/>
            <a:r>
              <a:rPr lang="en-US" dirty="0"/>
              <a:t>Nestor facilitates the tagging process by </a:t>
            </a:r>
            <a:r>
              <a:rPr lang="en-US" b="1" dirty="0"/>
              <a:t>presenting only most relevant/discriminative</a:t>
            </a:r>
            <a:r>
              <a:rPr lang="en-US" dirty="0"/>
              <a:t> </a:t>
            </a:r>
            <a:r>
              <a:rPr lang="en-US" b="1" dirty="0"/>
              <a:t>terms</a:t>
            </a:r>
          </a:p>
          <a:p>
            <a:pPr lvl="4" algn="just"/>
            <a:r>
              <a:rPr lang="en-US" dirty="0"/>
              <a:t>Ranked by </a:t>
            </a:r>
            <a:r>
              <a:rPr lang="en-US" i="1" dirty="0"/>
              <a:t>term-frequency – inverse document frequency </a:t>
            </a:r>
            <a:r>
              <a:rPr lang="en-US" dirty="0"/>
              <a:t>(TF-IDF) scores</a:t>
            </a:r>
          </a:p>
        </p:txBody>
      </p:sp>
    </p:spTree>
    <p:extLst>
      <p:ext uri="{BB962C8B-B14F-4D97-AF65-F5344CB8AC3E}">
        <p14:creationId xmlns:p14="http://schemas.microsoft.com/office/powerpoint/2010/main" val="2773469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etho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DBCE971E-BC53-5208-D0B0-346B7A5D6E36}"/>
              </a:ext>
            </a:extLst>
          </p:cNvPr>
          <p:cNvSpPr txBox="1">
            <a:spLocks/>
          </p:cNvSpPr>
          <p:nvPr/>
        </p:nvSpPr>
        <p:spPr bwMode="gray">
          <a:xfrm>
            <a:off x="479427" y="1679971"/>
            <a:ext cx="6188074" cy="40924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Machine</a:t>
            </a:r>
            <a:r>
              <a:rPr lang="de-DE" dirty="0"/>
              <a:t> Learning Approach</a:t>
            </a:r>
          </a:p>
          <a:p>
            <a:pPr lvl="3" algn="just"/>
            <a:r>
              <a:rPr lang="en-US" dirty="0"/>
              <a:t>MWO </a:t>
            </a:r>
            <a:r>
              <a:rPr lang="en-US" b="1" dirty="0"/>
              <a:t>Preprocessing</a:t>
            </a:r>
            <a:r>
              <a:rPr lang="en-US" dirty="0"/>
              <a:t> and </a:t>
            </a:r>
            <a:r>
              <a:rPr lang="en-US" b="1" dirty="0"/>
              <a:t>Feature Extraction</a:t>
            </a:r>
          </a:p>
          <a:p>
            <a:pPr lvl="4" algn="just"/>
            <a:r>
              <a:rPr lang="en-US" dirty="0"/>
              <a:t>Removal of stop words, numbers and punctuation</a:t>
            </a:r>
          </a:p>
          <a:p>
            <a:pPr lvl="4" algn="just"/>
            <a:r>
              <a:rPr lang="en-US" dirty="0"/>
              <a:t>Removal of empty reports</a:t>
            </a:r>
          </a:p>
          <a:p>
            <a:pPr lvl="4" algn="just"/>
            <a:r>
              <a:rPr lang="en-US" dirty="0"/>
              <a:t>Representation as TF-IDF vectors</a:t>
            </a:r>
          </a:p>
          <a:p>
            <a:pPr lvl="4" algn="just"/>
            <a:endParaRPr lang="en-US" dirty="0"/>
          </a:p>
          <a:p>
            <a:pPr lvl="3" algn="just"/>
            <a:r>
              <a:rPr lang="en-US" dirty="0"/>
              <a:t>Two well-established </a:t>
            </a:r>
            <a:r>
              <a:rPr lang="en-US" b="1" dirty="0"/>
              <a:t>classification methods</a:t>
            </a:r>
          </a:p>
          <a:p>
            <a:pPr lvl="4" algn="just"/>
            <a:r>
              <a:rPr lang="en-US" dirty="0"/>
              <a:t>Naïve Bayes</a:t>
            </a:r>
          </a:p>
          <a:p>
            <a:pPr lvl="4" algn="just"/>
            <a:r>
              <a:rPr lang="en-US" dirty="0"/>
              <a:t>Logistic Regression</a:t>
            </a:r>
          </a:p>
          <a:p>
            <a:pPr lvl="4" algn="just"/>
            <a:endParaRPr lang="en-US" dirty="0"/>
          </a:p>
          <a:p>
            <a:pPr lvl="3" algn="just"/>
            <a:r>
              <a:rPr lang="en-US" b="1" dirty="0"/>
              <a:t>Two oversampling approaches </a:t>
            </a:r>
            <a:r>
              <a:rPr lang="en-US" dirty="0"/>
              <a:t>are considered due to skewed class distribution</a:t>
            </a:r>
          </a:p>
          <a:p>
            <a:pPr lvl="4" algn="just"/>
            <a:r>
              <a:rPr lang="en-US" dirty="0"/>
              <a:t>Random Oversampling</a:t>
            </a:r>
          </a:p>
          <a:p>
            <a:pPr lvl="4" algn="just"/>
            <a:r>
              <a:rPr lang="en-US" dirty="0"/>
              <a:t>SMOTE</a:t>
            </a:r>
          </a:p>
        </p:txBody>
      </p:sp>
      <p:pic>
        <p:nvPicPr>
          <p:cNvPr id="8" name="Grafik 7" descr="Ein Bild, das Text, Screenshot, Display, Design enthält.&#10;&#10;Automatisch generierte Beschreibung">
            <a:extLst>
              <a:ext uri="{FF2B5EF4-FFF2-40B4-BE49-F238E27FC236}">
                <a16:creationId xmlns:a16="http://schemas.microsoft.com/office/drawing/2014/main" id="{FFD21E97-34B5-EA32-9B6A-3F861021ED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440" y="3248421"/>
            <a:ext cx="3707335" cy="276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830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Method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8</a:t>
            </a:fld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1">
                <a:extLst>
                  <a:ext uri="{FF2B5EF4-FFF2-40B4-BE49-F238E27FC236}">
                    <a16:creationId xmlns:a16="http://schemas.microsoft.com/office/drawing/2014/main" id="{DBCE971E-BC53-5208-D0B0-346B7A5D6E3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79426" y="1679971"/>
                <a:ext cx="11233149" cy="409240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0" kern="120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dirty="0"/>
                  <a:t>KPI </a:t>
                </a:r>
                <a:r>
                  <a:rPr lang="de-DE" dirty="0" err="1"/>
                  <a:t>Calculation</a:t>
                </a:r>
                <a:endParaRPr lang="de-DE" dirty="0"/>
              </a:p>
              <a:p>
                <a:pPr lvl="3" algn="just"/>
                <a:r>
                  <a:rPr lang="en-US" dirty="0">
                    <a:latin typeface="Frutiger LT Com 45 Light"/>
                  </a:rPr>
                  <a:t>We calculate the </a:t>
                </a:r>
                <a:r>
                  <a:rPr lang="en-US" b="1" dirty="0">
                    <a:latin typeface="Frutiger LT Com 45 Light"/>
                  </a:rPr>
                  <a:t>failure rate</a:t>
                </a:r>
                <a:r>
                  <a:rPr lang="en-US" dirty="0">
                    <a:latin typeface="Frutiger LT Com 45 Light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𝜆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𝐼𝑡𝑒𝑚</m:t>
                        </m:r>
                      </m:sub>
                    </m:sSub>
                  </m:oMath>
                </a14:m>
                <a:r>
                  <a:rPr lang="en-US" dirty="0">
                    <a:latin typeface="Frutiger LT Com 45 Light"/>
                  </a:rPr>
                  <a:t> of an item as follows:</a:t>
                </a:r>
              </a:p>
              <a:p>
                <a:pPr lvl="3" algn="just"/>
                <a:endParaRPr lang="en-US" dirty="0">
                  <a:latin typeface="Frutiger LT Com 45 Light"/>
                </a:endParaRPr>
              </a:p>
              <a:p>
                <a:pPr lvl="3" algn="just"/>
                <a:endParaRPr lang="en-US" dirty="0">
                  <a:latin typeface="Frutiger LT Com 45 Light"/>
                </a:endParaRPr>
              </a:p>
              <a:p>
                <a:pPr lvl="3" algn="just"/>
                <a:endParaRPr lang="en-US" dirty="0">
                  <a:latin typeface="Frutiger LT Com 45 Light"/>
                </a:endParaRPr>
              </a:p>
              <a:p>
                <a:pPr lvl="3" algn="just"/>
                <a:endParaRPr lang="en-US" dirty="0">
                  <a:latin typeface="Frutiger LT Com 45 Light"/>
                </a:endParaRPr>
              </a:p>
              <a:p>
                <a:pPr lvl="3" algn="just"/>
                <a:r>
                  <a:rPr lang="en-US" dirty="0">
                    <a:latin typeface="Frutiger LT Com 45 Light"/>
                  </a:rPr>
                  <a:t>In our work, </a:t>
                </a:r>
                <a:r>
                  <a:rPr lang="en-US" i="1" dirty="0">
                    <a:latin typeface="Frutiger LT Com 45 Light"/>
                  </a:rPr>
                  <a:t>Item</a:t>
                </a:r>
                <a:r>
                  <a:rPr lang="en-US" dirty="0">
                    <a:latin typeface="Frutiger LT Com 45 Light"/>
                  </a:rPr>
                  <a:t> is the overall </a:t>
                </a:r>
                <a:r>
                  <a:rPr lang="en-US" b="1" dirty="0">
                    <a:latin typeface="Frutiger LT Com 45 Light"/>
                  </a:rPr>
                  <a:t>Wind Turbine</a:t>
                </a:r>
              </a:p>
              <a:p>
                <a:pPr lvl="4" algn="just"/>
                <a:r>
                  <a:rPr lang="en-US" dirty="0">
                    <a:latin typeface="Frutiger LT Com 45 Light"/>
                  </a:rPr>
                  <a:t>I.e., we do not differentiate between failure rates of individual components</a:t>
                </a:r>
              </a:p>
              <a:p>
                <a:pPr lvl="4" algn="just"/>
                <a:r>
                  <a:rPr lang="en-US" dirty="0">
                    <a:latin typeface="Frutiger LT Com 45 Light"/>
                  </a:rPr>
                  <a:t>However, approach would be similar (classify MWOs by RDS-PP instead of ZEUS)</a:t>
                </a:r>
              </a:p>
              <a:p>
                <a:pPr lvl="4" algn="just"/>
                <a:endParaRPr lang="en-US" dirty="0">
                  <a:latin typeface="Frutiger LT Com 45 Light"/>
                </a:endParaRPr>
              </a:p>
              <a:p>
                <a:pPr lvl="3" algn="just"/>
                <a:r>
                  <a:rPr lang="en-US" dirty="0"/>
                  <a:t>For </a:t>
                </a:r>
                <a:r>
                  <a:rPr lang="en-US" b="1" dirty="0"/>
                  <a:t>calculating times between failures</a:t>
                </a:r>
                <a:r>
                  <a:rPr lang="en-US" dirty="0"/>
                  <a:t>, we use MWOs with the </a:t>
                </a:r>
                <a:r>
                  <a:rPr lang="en-US" i="1" dirty="0"/>
                  <a:t>Corrective Maintenance</a:t>
                </a:r>
                <a:r>
                  <a:rPr lang="en-US" dirty="0"/>
                  <a:t> class (in manual labeling and machine learning approach).</a:t>
                </a:r>
              </a:p>
              <a:p>
                <a:pPr lvl="3" algn="just"/>
                <a:r>
                  <a:rPr lang="en-US" dirty="0"/>
                  <a:t>In AI-assisted tagging, MWOs with a </a:t>
                </a:r>
                <a:r>
                  <a:rPr lang="en-US" i="1" dirty="0"/>
                  <a:t>Failure</a:t>
                </a:r>
                <a:r>
                  <a:rPr lang="en-US" dirty="0"/>
                  <a:t> tag are considered (+ some rules, e.g., to exclude negations such as “no fault”).</a:t>
                </a:r>
              </a:p>
              <a:p>
                <a:pPr lvl="3" algn="just"/>
                <a:r>
                  <a:rPr lang="en-US" dirty="0"/>
                  <a:t>Calculate the time difference between subsequent maintenance/failure events</a:t>
                </a:r>
              </a:p>
            </p:txBody>
          </p:sp>
        </mc:Choice>
        <mc:Fallback>
          <p:sp>
            <p:nvSpPr>
              <p:cNvPr id="5" name="Textplatzhalter 1">
                <a:extLst>
                  <a:ext uri="{FF2B5EF4-FFF2-40B4-BE49-F238E27FC236}">
                    <a16:creationId xmlns:a16="http://schemas.microsoft.com/office/drawing/2014/main" id="{DBCE971E-BC53-5208-D0B0-346B7A5D6E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79426" y="1679971"/>
                <a:ext cx="11233149" cy="4092402"/>
              </a:xfrm>
              <a:prstGeom prst="rect">
                <a:avLst/>
              </a:prstGeom>
              <a:blipFill>
                <a:blip r:embed="rId5"/>
                <a:stretch>
                  <a:fillRect l="-1303" t="-1639" r="-1086" b="-1937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C4873AA0-C633-D70C-108B-A8623460010C}"/>
                  </a:ext>
                </a:extLst>
              </p:cNvPr>
              <p:cNvSpPr txBox="1"/>
              <p:nvPr/>
            </p:nvSpPr>
            <p:spPr>
              <a:xfrm>
                <a:off x="3636687" y="2589323"/>
                <a:ext cx="3094052" cy="6926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𝑀𝑇𝐵</m:t>
                      </m:r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𝐼𝑡𝑒𝑚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nary>
                            <m:naryPr>
                              <m:chr m:val="∑"/>
                              <m:limLoc m:val="subSup"/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de-DE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=1</m:t>
                              </m:r>
                            </m:sub>
                            <m:sup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𝐶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   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𝐼𝑡𝑒𝑚</m:t>
                                  </m:r>
                                </m:sub>
                              </m:s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sup>
                            <m:e>
                              <m:sSub>
                                <m:sSubPr>
                                  <m:ctrlPr>
                                    <a:rPr lang="de-DE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m:rPr>
                                      <m:sty m:val="p"/>
                                    </m:rPr>
                                    <a:rPr lang="de-DE">
                                      <a:latin typeface="Cambria Math" panose="02040503050406030204" pitchFamily="18" charset="0"/>
                                    </a:rPr>
                                    <m:t>Δ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e>
                                <m:sub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𝐼𝑡𝑒𝑚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de-DE" i="1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</m:e>
                          </m:nary>
                        </m:num>
                        <m:den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,   </m:t>
                              </m:r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𝐼𝑡𝑒𝑚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2" name="Textfeld 1">
                <a:extLst>
                  <a:ext uri="{FF2B5EF4-FFF2-40B4-BE49-F238E27FC236}">
                    <a16:creationId xmlns:a16="http://schemas.microsoft.com/office/drawing/2014/main" id="{C4873AA0-C633-D70C-108B-A862346001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36687" y="2589323"/>
                <a:ext cx="3094052" cy="6926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D87C866C-6B60-C54A-EF25-B932C1C346C7}"/>
                  </a:ext>
                </a:extLst>
              </p:cNvPr>
              <p:cNvSpPr txBox="1"/>
              <p:nvPr/>
            </p:nvSpPr>
            <p:spPr>
              <a:xfrm>
                <a:off x="916309" y="2652033"/>
                <a:ext cx="2329763" cy="5672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𝜆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𝐼𝑡𝑒𝑚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</a:rPr>
                            <m:t>𝑀𝑇𝐵</m:t>
                          </m:r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𝐼𝑡𝑒𝑚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D87C866C-6B60-C54A-EF25-B932C1C346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6309" y="2652033"/>
                <a:ext cx="2329763" cy="56720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platzhalter 1">
                <a:extLst>
                  <a:ext uri="{FF2B5EF4-FFF2-40B4-BE49-F238E27FC236}">
                    <a16:creationId xmlns:a16="http://schemas.microsoft.com/office/drawing/2014/main" id="{E6B434A0-B010-E436-994F-ECFC6B856232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7342141" y="2665722"/>
                <a:ext cx="3753207" cy="55675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0" kern="120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3" indent="0" algn="just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de-DE">
                            <a:latin typeface="Cambria Math" panose="02040503050406030204" pitchFamily="18" charset="0"/>
                          </a:rPr>
                          <m:t>Δ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𝐼𝑡𝑒𝑚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0" smtClean="0"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n-US" dirty="0"/>
                  <a:t>time to the </a:t>
                </a:r>
                <a:r>
                  <a:rPr lang="en-US" dirty="0" err="1"/>
                  <a:t>ith</a:t>
                </a:r>
                <a:r>
                  <a:rPr lang="en-US" dirty="0"/>
                  <a:t> failure of </a:t>
                </a:r>
                <a:r>
                  <a:rPr lang="en-US" i="1" dirty="0"/>
                  <a:t>Item</a:t>
                </a:r>
                <a:endParaRPr lang="en-US" dirty="0"/>
              </a:p>
              <a:p>
                <a:pPr marL="0" lvl="3" indent="0" algn="just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</a:rPr>
                          <m:t>𝐹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,   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𝐼𝑡𝑒𝑚</m:t>
                        </m:r>
                      </m:sub>
                    </m:sSub>
                  </m:oMath>
                </a14:m>
                <a:r>
                  <a:rPr lang="en-US" dirty="0"/>
                  <a:t>  total number of failures of </a:t>
                </a:r>
                <a:r>
                  <a:rPr lang="en-US" i="1" dirty="0"/>
                  <a:t>Item</a:t>
                </a:r>
                <a:r>
                  <a:rPr lang="en-US" dirty="0"/>
                  <a:t>.</a:t>
                </a:r>
                <a:endParaRPr lang="en-US" dirty="0">
                  <a:latin typeface="Frutiger LT Com 45 Light"/>
                </a:endParaRPr>
              </a:p>
            </p:txBody>
          </p:sp>
        </mc:Choice>
        <mc:Fallback>
          <p:sp>
            <p:nvSpPr>
              <p:cNvPr id="10" name="Textplatzhalter 1">
                <a:extLst>
                  <a:ext uri="{FF2B5EF4-FFF2-40B4-BE49-F238E27FC236}">
                    <a16:creationId xmlns:a16="http://schemas.microsoft.com/office/drawing/2014/main" id="{E6B434A0-B010-E436-994F-ECFC6B85623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342141" y="2665722"/>
                <a:ext cx="3753207" cy="556755"/>
              </a:xfrm>
              <a:prstGeom prst="rect">
                <a:avLst/>
              </a:prstGeom>
              <a:blipFill>
                <a:blip r:embed="rId8"/>
                <a:stretch>
                  <a:fillRect l="-1786" t="-8696" b="-18478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89569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3F35B2-4B13-4AA9-BABC-6AC2B3B16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9854297-4850-46ED-BD93-04E27A61EBD1}" type="datetime1">
              <a:rPr lang="de-DE" noProof="0" smtClean="0"/>
              <a:t>12.09.2024</a:t>
            </a:fld>
            <a:endParaRPr lang="de-DE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624CA59-376F-45D4-9C95-C1723C6847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E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0F3DC97-5C7D-4704-8217-5EFA9C8E5B9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D81EE41-304C-41C3-8185-350F2275D756}" type="slidenum">
              <a:rPr lang="de-DE" smtClean="0"/>
              <a:pPr/>
              <a:t>9</a:t>
            </a:fld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platzhalter 1">
                <a:extLst>
                  <a:ext uri="{FF2B5EF4-FFF2-40B4-BE49-F238E27FC236}">
                    <a16:creationId xmlns:a16="http://schemas.microsoft.com/office/drawing/2014/main" id="{DBCE971E-BC53-5208-D0B0-346B7A5D6E3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79427" y="1679971"/>
                <a:ext cx="4770470" cy="246734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0" kern="120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0" kern="120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DE" dirty="0"/>
                  <a:t>ZEUS Classification</a:t>
                </a:r>
                <a:endParaRPr lang="en-US" dirty="0"/>
              </a:p>
              <a:p>
                <a:pPr lvl="3" algn="just"/>
                <a:r>
                  <a:rPr lang="en-US" dirty="0"/>
                  <a:t>We evaluate </a:t>
                </a:r>
                <a:r>
                  <a:rPr lang="en-US" b="1" dirty="0"/>
                  <a:t>Precision</a:t>
                </a:r>
                <a:r>
                  <a:rPr lang="en-US" dirty="0"/>
                  <a:t>, </a:t>
                </a:r>
                <a:r>
                  <a:rPr lang="en-US" b="1" dirty="0"/>
                  <a:t>Recall</a:t>
                </a:r>
                <a:r>
                  <a:rPr lang="en-US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𝐹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b="0" i="0" smtClean="0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lang="en-US" b="1" dirty="0"/>
                  <a:t>Score</a:t>
                </a:r>
              </a:p>
              <a:p>
                <a:pPr lvl="4" algn="just"/>
                <a:r>
                  <a:rPr lang="en-US" b="1" dirty="0"/>
                  <a:t>Macro Average </a:t>
                </a:r>
                <a:r>
                  <a:rPr lang="en-US" dirty="0"/>
                  <a:t>(average over class scores)</a:t>
                </a:r>
              </a:p>
              <a:p>
                <a:pPr lvl="4" algn="just"/>
                <a:r>
                  <a:rPr lang="en-US" b="1" dirty="0"/>
                  <a:t>Weighted Average </a:t>
                </a:r>
                <a:r>
                  <a:rPr lang="en-US" dirty="0"/>
                  <a:t>(by class frequencies)</a:t>
                </a:r>
                <a:endParaRPr lang="en-US" b="1" dirty="0"/>
              </a:p>
              <a:p>
                <a:pPr lvl="3" algn="just"/>
                <a:endParaRPr lang="en-US" dirty="0"/>
              </a:p>
              <a:p>
                <a:pPr lvl="3" algn="just"/>
                <a:r>
                  <a:rPr lang="en-US" dirty="0"/>
                  <a:t>Best results in both cases were achieved through </a:t>
                </a:r>
                <a:r>
                  <a:rPr lang="en-US" b="1" dirty="0"/>
                  <a:t>logistic regression </a:t>
                </a:r>
                <a:r>
                  <a:rPr lang="en-US" dirty="0"/>
                  <a:t>(LR) in combination with </a:t>
                </a:r>
                <a:r>
                  <a:rPr lang="en-US" b="1" dirty="0"/>
                  <a:t>random oversampling </a:t>
                </a:r>
                <a:r>
                  <a:rPr lang="en-US" dirty="0"/>
                  <a:t>(RO)</a:t>
                </a:r>
              </a:p>
            </p:txBody>
          </p:sp>
        </mc:Choice>
        <mc:Fallback>
          <p:sp>
            <p:nvSpPr>
              <p:cNvPr id="5" name="Textplatzhalter 1">
                <a:extLst>
                  <a:ext uri="{FF2B5EF4-FFF2-40B4-BE49-F238E27FC236}">
                    <a16:creationId xmlns:a16="http://schemas.microsoft.com/office/drawing/2014/main" id="{DBCE971E-BC53-5208-D0B0-346B7A5D6E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79427" y="1679971"/>
                <a:ext cx="4770470" cy="2467342"/>
              </a:xfrm>
              <a:prstGeom prst="rect">
                <a:avLst/>
              </a:prstGeom>
              <a:blipFill>
                <a:blip r:embed="rId5"/>
                <a:stretch>
                  <a:fillRect l="-3069" t="-2723" r="-2685" b="-3960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Grafik 11">
            <a:extLst>
              <a:ext uri="{FF2B5EF4-FFF2-40B4-BE49-F238E27FC236}">
                <a16:creationId xmlns:a16="http://schemas.microsoft.com/office/drawing/2014/main" id="{B565962C-5916-D0DB-7CCF-211131E7A0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69422" y="2221275"/>
            <a:ext cx="4619625" cy="218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2546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t_Fraunhofer_Master_16-9" id="{AA425899-2047-40BA-B25F-45B92472B1F5}" vid="{608B1FC2-3112-46A7-8D8D-734840C9A5A9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01A9E0AC26E9244A4137BA1F0001B3C" ma:contentTypeVersion="3" ma:contentTypeDescription="Ein neues Dokument erstellen." ma:contentTypeScope="" ma:versionID="7fc99fae8a48e5b3fbb01f43f14ba195">
  <xsd:schema xmlns:xsd="http://www.w3.org/2001/XMLSchema" xmlns:xs="http://www.w3.org/2001/XMLSchema" xmlns:p="http://schemas.microsoft.com/office/2006/metadata/properties" xmlns:ns2="f2849f71-2af4-4259-8b7e-30403635525c" targetNamespace="http://schemas.microsoft.com/office/2006/metadata/properties" ma:root="true" ma:fieldsID="ca07ac0e16f390aa31c8a2292ca13b89" ns2:_="">
    <xsd:import namespace="f2849f71-2af4-4259-8b7e-3040363552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849f71-2af4-4259-8b7e-3040363552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CF642EE-9EA0-41B6-B685-EF5734E6F3E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849f71-2af4-4259-8b7e-3040363552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2C50B6-1067-417A-81FE-D1A41986C17E}">
  <ds:schemaRefs>
    <ds:schemaRef ds:uri="2c837c82-c036-4f91-9acd-6bc43879026f"/>
    <ds:schemaRef ds:uri="79cdcb1f-5ff5-407e-b39c-fa9d9345b73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80822_Fraunhofer_Master_16-9</Template>
  <TotalTime>0</TotalTime>
  <Words>1078</Words>
  <Application>Microsoft Office PowerPoint</Application>
  <PresentationFormat>Breitbild</PresentationFormat>
  <Paragraphs>163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mbria Math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-Präsentation</vt:lpstr>
      <vt:lpstr>Motivation</vt:lpstr>
      <vt:lpstr>Motivation</vt:lpstr>
      <vt:lpstr>Method</vt:lpstr>
      <vt:lpstr>Method</vt:lpstr>
      <vt:lpstr>Method</vt:lpstr>
      <vt:lpstr>Method</vt:lpstr>
      <vt:lpstr>Method</vt:lpstr>
      <vt:lpstr>Evaluation</vt:lpstr>
      <vt:lpstr>Evaluation</vt:lpstr>
      <vt:lpstr>Evaluation</vt:lpstr>
      <vt:lpstr>Evaluation</vt:lpstr>
      <vt:lpstr>Conclusion &amp; Outlook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liushchanka, Maryna</dc:creator>
  <cp:lastModifiedBy>Schäfermeier, Bastian</cp:lastModifiedBy>
  <cp:revision>87</cp:revision>
  <dcterms:created xsi:type="dcterms:W3CDTF">2022-09-19T10:31:26Z</dcterms:created>
  <dcterms:modified xsi:type="dcterms:W3CDTF">2024-09-17T15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1A9E0AC26E9244A4137BA1F0001B3C</vt:lpwstr>
  </property>
  <property fmtid="{D5CDD505-2E9C-101B-9397-08002B2CF9AE}" pid="3" name="MediaServiceImageTags">
    <vt:lpwstr/>
  </property>
</Properties>
</file>